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  <p:sldMasterId id="2147483694" r:id="rId2"/>
  </p:sldMasterIdLst>
  <p:notesMasterIdLst>
    <p:notesMasterId r:id="rId47"/>
  </p:notesMasterIdLst>
  <p:handoutMasterIdLst>
    <p:handoutMasterId r:id="rId48"/>
  </p:handoutMasterIdLst>
  <p:sldIdLst>
    <p:sldId id="1001" r:id="rId3"/>
    <p:sldId id="834" r:id="rId4"/>
    <p:sldId id="992" r:id="rId5"/>
    <p:sldId id="889" r:id="rId6"/>
    <p:sldId id="996" r:id="rId7"/>
    <p:sldId id="997" r:id="rId8"/>
    <p:sldId id="993" r:id="rId9"/>
    <p:sldId id="994" r:id="rId10"/>
    <p:sldId id="891" r:id="rId11"/>
    <p:sldId id="969" r:id="rId12"/>
    <p:sldId id="895" r:id="rId13"/>
    <p:sldId id="940" r:id="rId14"/>
    <p:sldId id="999" r:id="rId15"/>
    <p:sldId id="898" r:id="rId16"/>
    <p:sldId id="905" r:id="rId17"/>
    <p:sldId id="972" r:id="rId18"/>
    <p:sldId id="907" r:id="rId19"/>
    <p:sldId id="1002" r:id="rId20"/>
    <p:sldId id="957" r:id="rId21"/>
    <p:sldId id="955" r:id="rId22"/>
    <p:sldId id="918" r:id="rId23"/>
    <p:sldId id="919" r:id="rId24"/>
    <p:sldId id="968" r:id="rId25"/>
    <p:sldId id="970" r:id="rId26"/>
    <p:sldId id="1000" r:id="rId27"/>
    <p:sldId id="945" r:id="rId28"/>
    <p:sldId id="954" r:id="rId29"/>
    <p:sldId id="946" r:id="rId30"/>
    <p:sldId id="948" r:id="rId31"/>
    <p:sldId id="979" r:id="rId32"/>
    <p:sldId id="936" r:id="rId33"/>
    <p:sldId id="923" r:id="rId34"/>
    <p:sldId id="922" r:id="rId35"/>
    <p:sldId id="975" r:id="rId36"/>
    <p:sldId id="967" r:id="rId37"/>
    <p:sldId id="963" r:id="rId38"/>
    <p:sldId id="964" r:id="rId39"/>
    <p:sldId id="965" r:id="rId40"/>
    <p:sldId id="966" r:id="rId41"/>
    <p:sldId id="987" r:id="rId42"/>
    <p:sldId id="984" r:id="rId43"/>
    <p:sldId id="953" r:id="rId44"/>
    <p:sldId id="914" r:id="rId45"/>
    <p:sldId id="575" r:id="rId46"/>
  </p:sldIdLst>
  <p:sldSz cx="9144000" cy="6858000" type="screen4x3"/>
  <p:notesSz cx="6805613" cy="99441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631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62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6894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525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1566" algn="l" defTabSz="91262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37882" algn="l" defTabSz="91262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4194" algn="l" defTabSz="91262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0505" algn="l" defTabSz="912627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2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121" autoAdjust="0"/>
    <p:restoredTop sz="85787" autoAdjust="0"/>
  </p:normalViewPr>
  <p:slideViewPr>
    <p:cSldViewPr>
      <p:cViewPr>
        <p:scale>
          <a:sx n="92" d="100"/>
          <a:sy n="92" d="100"/>
        </p:scale>
        <p:origin x="-570" y="-3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5" d="100"/>
          <a:sy n="85" d="100"/>
        </p:scale>
        <p:origin x="-3834" y="-84"/>
      </p:cViewPr>
      <p:guideLst>
        <p:guide orient="horz" pos="3132"/>
        <p:guide pos="2144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6.xml"/><Relationship Id="rId51" Type="http://schemas.openxmlformats.org/officeDocument/2006/relationships/theme" Target="theme/theme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120480-9F67-46B1-AA92-BF1641525C6D}" type="datetimeFigureOut">
              <a:rPr lang="ru-RU" smtClean="0"/>
              <a:pPr/>
              <a:t>04.10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BC8F96-7C7E-4C7C-A3F8-D908A060E7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63558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CA1CC2B-1216-4AEF-9453-0254F74E816D}" type="datetimeFigureOut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0F9985E-4D52-4745-A053-446CE7ED793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588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31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62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894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2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1566" algn="l" defTabSz="9126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7882" algn="l" defTabSz="9126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4194" algn="l" defTabSz="9126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0505" algn="l" defTabSz="9126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43086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75216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86519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58356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49933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94455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9532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82897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07685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75254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8326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 txBox="1">
            <a:spLocks noGrp="1" noChangeArrowheads="1"/>
          </p:cNvSpPr>
          <p:nvPr/>
        </p:nvSpPr>
        <p:spPr bwMode="auto">
          <a:xfrm>
            <a:off x="3856038" y="944721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26" tIns="45563" rIns="91126" bIns="45563" anchor="b"/>
          <a:lstStyle/>
          <a:p>
            <a:pPr algn="r" eaLnBrk="1" hangingPunct="1"/>
            <a:fld id="{F9316ACD-7DD5-4EA3-A500-A251CD7102B2}" type="slidenum">
              <a:rPr lang="ru-RU" altLang="ru-RU" sz="1200">
                <a:latin typeface="Times New Roman" pitchFamily="18" charset="0"/>
              </a:rPr>
              <a:pPr algn="r" eaLnBrk="1" hangingPunct="1"/>
              <a:t>2</a:t>
            </a:fld>
            <a:endParaRPr lang="ru-RU" altLang="ru-RU" sz="1200">
              <a:latin typeface="Times New Roman" pitchFamily="18" charset="0"/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altLang="ru-RU" dirty="0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64752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94898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09634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741276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976712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21586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287184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79802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44874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007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82256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775244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829352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870895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785319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788868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1843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6125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7763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655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65338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22538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9738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36938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94138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FE94B9A-8DF1-4713-A968-7B7F788B1F15}" type="slidenum">
              <a:rPr lang="ru-RU" altLang="ru-RU" smtClean="0"/>
              <a:pPr/>
              <a:t>35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7694163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4096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7FC82FB-85CC-4630-90A8-2052670813A3}" type="slidenum">
              <a:rPr lang="ru-RU" altLang="ru-RU" smtClean="0"/>
              <a:pPr/>
              <a:t>36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99271378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301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38D0FD13-B9F5-41B6-9EBE-0D12EC89CD18}" type="slidenum">
              <a:rPr lang="ru-RU" altLang="ru-RU" smtClean="0"/>
              <a:pPr/>
              <a:t>37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57016299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506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E5709E6-F3BD-47FB-9E50-C63D5CF631D2}" type="slidenum">
              <a:rPr lang="ru-RU" altLang="ru-RU" smtClean="0"/>
              <a:pPr/>
              <a:t>38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55573602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385ACC18-1CFF-4E66-B7AB-4208FFF59C7C}" type="slidenum">
              <a:rPr lang="ru-RU" altLang="ru-RU" smtClean="0"/>
              <a:pPr/>
              <a:t>39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0256161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31802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06652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593651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4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B25927D-12B3-431C-B920-DD726E6C2846}" type="slidenum">
              <a:rPr lang="ru-RU" altLang="ru-RU"/>
              <a:pPr eaLnBrk="1" hangingPunct="1"/>
              <a:t>4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356130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568579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9422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28775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56464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595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 altLang="ru-RU" dirty="0" smtClean="0"/>
          </a:p>
        </p:txBody>
      </p:sp>
      <p:sp>
        <p:nvSpPr>
          <p:cNvPr id="132100" name="Номер слайда 3"/>
          <p:cNvSpPr txBox="1">
            <a:spLocks noGrp="1"/>
          </p:cNvSpPr>
          <p:nvPr/>
        </p:nvSpPr>
        <p:spPr bwMode="auto">
          <a:xfrm>
            <a:off x="2868756" y="18261542"/>
            <a:ext cx="2195283" cy="96064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07195" tIns="53598" rIns="107195" bIns="53598" anchor="b"/>
          <a:lstStyle/>
          <a:p>
            <a:pPr algn="r">
              <a:defRPr/>
            </a:pPr>
            <a:fld id="{7E02ECDE-2908-43C1-BD91-8744BEDD506C}" type="slidenum">
              <a:rPr lang="ru-RU" sz="1400"/>
              <a:pPr algn="r">
                <a:defRPr/>
              </a:pPr>
              <a:t>7</a:t>
            </a:fld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25301613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752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133124" name="Номер слайда 3"/>
          <p:cNvSpPr txBox="1">
            <a:spLocks noGrp="1"/>
          </p:cNvSpPr>
          <p:nvPr/>
        </p:nvSpPr>
        <p:spPr bwMode="auto">
          <a:xfrm>
            <a:off x="2868756" y="18261542"/>
            <a:ext cx="2195283" cy="96064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07195" tIns="53598" rIns="107195" bIns="53598" anchor="b"/>
          <a:lstStyle/>
          <a:p>
            <a:pPr algn="r">
              <a:defRPr/>
            </a:pPr>
            <a:fld id="{9422667D-4500-404A-97CB-A352F0066CF5}" type="slidenum">
              <a:rPr lang="ru-RU" sz="1400"/>
              <a:pPr algn="r">
                <a:defRPr/>
              </a:pPr>
              <a:t>8</a:t>
            </a:fld>
            <a:endParaRPr lang="ru-RU" sz="1400"/>
          </a:p>
        </p:txBody>
      </p:sp>
    </p:spTree>
    <p:extLst>
      <p:ext uri="{BB962C8B-B14F-4D97-AF65-F5344CB8AC3E}">
        <p14:creationId xmlns:p14="http://schemas.microsoft.com/office/powerpoint/2010/main" val="36696864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F9985E-4D52-4745-A053-446CE7ED7939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3598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16.png"/><Relationship Id="rId4" Type="http://schemas.openxmlformats.org/officeDocument/2006/relationships/image" Target="../media/image14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if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6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40E3EF-8918-4914-B4A9-FA4F436CCB2F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179211-E98F-4815-8CC2-CD562EC761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186022-05E0-41D5-B484-E13C35D8135F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чальная школа. Обучение грамоте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62D00-8980-475A-AB3B-4C6D8DC066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14" indent="0">
              <a:buNone/>
              <a:defRPr sz="2000" b="1"/>
            </a:lvl2pPr>
            <a:lvl3pPr marL="912627" indent="0">
              <a:buNone/>
              <a:defRPr sz="1800" b="1"/>
            </a:lvl3pPr>
            <a:lvl4pPr marL="1368940" indent="0">
              <a:buNone/>
              <a:defRPr sz="1600" b="1"/>
            </a:lvl4pPr>
            <a:lvl5pPr marL="1825255" indent="0">
              <a:buNone/>
              <a:defRPr sz="1600" b="1"/>
            </a:lvl5pPr>
            <a:lvl6pPr marL="2281566" indent="0">
              <a:buNone/>
              <a:defRPr sz="1600" b="1"/>
            </a:lvl6pPr>
            <a:lvl7pPr marL="2737882" indent="0">
              <a:buNone/>
              <a:defRPr sz="1600" b="1"/>
            </a:lvl7pPr>
            <a:lvl8pPr marL="3194194" indent="0">
              <a:buNone/>
              <a:defRPr sz="1600" b="1"/>
            </a:lvl8pPr>
            <a:lvl9pPr marL="365050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314" indent="0">
              <a:buNone/>
              <a:defRPr sz="2000" b="1"/>
            </a:lvl2pPr>
            <a:lvl3pPr marL="912627" indent="0">
              <a:buNone/>
              <a:defRPr sz="1800" b="1"/>
            </a:lvl3pPr>
            <a:lvl4pPr marL="1368940" indent="0">
              <a:buNone/>
              <a:defRPr sz="1600" b="1"/>
            </a:lvl4pPr>
            <a:lvl5pPr marL="1825255" indent="0">
              <a:buNone/>
              <a:defRPr sz="1600" b="1"/>
            </a:lvl5pPr>
            <a:lvl6pPr marL="2281566" indent="0">
              <a:buNone/>
              <a:defRPr sz="1600" b="1"/>
            </a:lvl6pPr>
            <a:lvl7pPr marL="2737882" indent="0">
              <a:buNone/>
              <a:defRPr sz="1600" b="1"/>
            </a:lvl7pPr>
            <a:lvl8pPr marL="3194194" indent="0">
              <a:buNone/>
              <a:defRPr sz="1600" b="1"/>
            </a:lvl8pPr>
            <a:lvl9pPr marL="365050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37780F-84BC-4D0D-9F29-DBE498277988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чальная школа. Обучение грамоте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7C7A82-ADB0-4420-B67F-53EB29D2D9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2553BC-0CCD-4FF8-83AC-73484AAF7DDE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чальная школа. Обучение грамоте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8476FA-2873-4D4A-92FA-A2A0F42076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246F4F-94F9-4A3B-AE7D-A8EF8C0892F4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чальная школа. Обучение грамоте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8475E8-65C3-41EF-8556-ABF5FD9BB5D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1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314" indent="0">
              <a:buNone/>
              <a:defRPr sz="1200"/>
            </a:lvl2pPr>
            <a:lvl3pPr marL="912627" indent="0">
              <a:buNone/>
              <a:defRPr sz="1000"/>
            </a:lvl3pPr>
            <a:lvl4pPr marL="1368940" indent="0">
              <a:buNone/>
              <a:defRPr sz="900"/>
            </a:lvl4pPr>
            <a:lvl5pPr marL="1825255" indent="0">
              <a:buNone/>
              <a:defRPr sz="900"/>
            </a:lvl5pPr>
            <a:lvl6pPr marL="2281566" indent="0">
              <a:buNone/>
              <a:defRPr sz="900"/>
            </a:lvl6pPr>
            <a:lvl7pPr marL="2737882" indent="0">
              <a:buNone/>
              <a:defRPr sz="900"/>
            </a:lvl7pPr>
            <a:lvl8pPr marL="3194194" indent="0">
              <a:buNone/>
              <a:defRPr sz="900"/>
            </a:lvl8pPr>
            <a:lvl9pPr marL="3650505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1D4A1C-8F87-4F46-A692-DFCF703A9C99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чальная школа. Обучение грамоте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DC0BD8-4F33-4F61-9855-C1FEE19284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314" indent="0">
              <a:buNone/>
              <a:defRPr sz="2800"/>
            </a:lvl2pPr>
            <a:lvl3pPr marL="912627" indent="0">
              <a:buNone/>
              <a:defRPr sz="2400"/>
            </a:lvl3pPr>
            <a:lvl4pPr marL="1368940" indent="0">
              <a:buNone/>
              <a:defRPr sz="2000"/>
            </a:lvl4pPr>
            <a:lvl5pPr marL="1825255" indent="0">
              <a:buNone/>
              <a:defRPr sz="2000"/>
            </a:lvl5pPr>
            <a:lvl6pPr marL="2281566" indent="0">
              <a:buNone/>
              <a:defRPr sz="2000"/>
            </a:lvl6pPr>
            <a:lvl7pPr marL="2737882" indent="0">
              <a:buNone/>
              <a:defRPr sz="2000"/>
            </a:lvl7pPr>
            <a:lvl8pPr marL="3194194" indent="0">
              <a:buNone/>
              <a:defRPr sz="2000"/>
            </a:lvl8pPr>
            <a:lvl9pPr marL="3650505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314" indent="0">
              <a:buNone/>
              <a:defRPr sz="1200"/>
            </a:lvl2pPr>
            <a:lvl3pPr marL="912627" indent="0">
              <a:buNone/>
              <a:defRPr sz="1000"/>
            </a:lvl3pPr>
            <a:lvl4pPr marL="1368940" indent="0">
              <a:buNone/>
              <a:defRPr sz="900"/>
            </a:lvl4pPr>
            <a:lvl5pPr marL="1825255" indent="0">
              <a:buNone/>
              <a:defRPr sz="900"/>
            </a:lvl5pPr>
            <a:lvl6pPr marL="2281566" indent="0">
              <a:buNone/>
              <a:defRPr sz="900"/>
            </a:lvl6pPr>
            <a:lvl7pPr marL="2737882" indent="0">
              <a:buNone/>
              <a:defRPr sz="900"/>
            </a:lvl7pPr>
            <a:lvl8pPr marL="3194194" indent="0">
              <a:buNone/>
              <a:defRPr sz="900"/>
            </a:lvl8pPr>
            <a:lvl9pPr marL="3650505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1D6E64-3145-4DBF-8B5F-8DC49418C4F5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чальная школа. Обучение грамоте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F04B24-2B56-43A1-AAF5-CAE08C2F03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3CEB43-733B-4008-ADE3-E76D0686B272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чальная школа. Обучение грамоте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F5CA89-9FA5-4441-B629-C0E353623E3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7B82F-783B-46AE-BBA1-1F53D0C1BF64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чальная школа. Обучение грамоте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5F9CC9-A61B-41D3-9150-FC7CFA505E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D:\work\Презентации\Дизайн\logo_prosv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40" y="61913"/>
            <a:ext cx="1187450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Группа 8"/>
          <p:cNvGrpSpPr>
            <a:grpSpLocks/>
          </p:cNvGrpSpPr>
          <p:nvPr userDrawn="1"/>
        </p:nvGrpSpPr>
        <p:grpSpPr bwMode="auto">
          <a:xfrm>
            <a:off x="3" y="765180"/>
            <a:ext cx="468313" cy="6092825"/>
            <a:chOff x="0" y="764704"/>
            <a:chExt cx="467544" cy="6093296"/>
          </a:xfrm>
        </p:grpSpPr>
        <p:cxnSp>
          <p:nvCxnSpPr>
            <p:cNvPr id="4" name="Прямая соединительная линия 3"/>
            <p:cNvCxnSpPr/>
            <p:nvPr/>
          </p:nvCxnSpPr>
          <p:spPr>
            <a:xfrm>
              <a:off x="467544" y="764704"/>
              <a:ext cx="0" cy="609329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/>
            <p:cNvCxnSpPr/>
            <p:nvPr/>
          </p:nvCxnSpPr>
          <p:spPr>
            <a:xfrm>
              <a:off x="0" y="764704"/>
              <a:ext cx="467544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Picture 6" descr="sun1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819150"/>
            <a:ext cx="431800" cy="431800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25000"/>
              </a:srgbClr>
            </a:outerShdw>
          </a:effectLst>
        </p:spPr>
      </p:pic>
      <p:sp>
        <p:nvSpPr>
          <p:cNvPr id="7" name="Прямоугольник 6"/>
          <p:cNvSpPr/>
          <p:nvPr userDrawn="1"/>
        </p:nvSpPr>
        <p:spPr>
          <a:xfrm rot="16200000">
            <a:off x="-2628301" y="3760368"/>
            <a:ext cx="5678892" cy="369154"/>
          </a:xfrm>
          <a:prstGeom prst="rect">
            <a:avLst/>
          </a:prstGeom>
        </p:spPr>
        <p:txBody>
          <a:bodyPr wrap="none" lIns="91264" tIns="45632" rIns="91264" bIns="45632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pc="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Начальная школа. </a:t>
            </a:r>
            <a:r>
              <a:rPr lang="ru-RU" b="1" spc="3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Обучение грамоте</a:t>
            </a:r>
            <a:endParaRPr lang="ru-RU" b="1" spc="3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611188" y="6308736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596313" y="6438911"/>
            <a:ext cx="476250" cy="365125"/>
          </a:xfrm>
        </p:spPr>
        <p:txBody>
          <a:bodyPr/>
          <a:lstStyle>
            <a:lvl1pPr algn="ctr">
              <a:defRPr sz="2000"/>
            </a:lvl1pPr>
          </a:lstStyle>
          <a:p>
            <a:pPr>
              <a:defRPr/>
            </a:pPr>
            <a:fld id="{696C6C8A-2030-4D97-A623-687D41FD98E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НШ. УМК &quot; Школа России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505" y="6309371"/>
            <a:ext cx="2133600" cy="365125"/>
          </a:xfrm>
        </p:spPr>
        <p:txBody>
          <a:bodyPr/>
          <a:lstStyle/>
          <a:p>
            <a:fld id="{73CCC060-E93E-4139-834C-1079A8AC99CF}" type="datetime1">
              <a:rPr lang="ru-RU" smtClean="0"/>
              <a:pPr/>
              <a:t>04.10.2019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95966" y="6439261"/>
            <a:ext cx="476545" cy="365125"/>
          </a:xfrm>
        </p:spPr>
        <p:txBody>
          <a:bodyPr/>
          <a:lstStyle>
            <a:lvl1pPr algn="ctr">
              <a:defRPr sz="2000"/>
            </a:lvl1pPr>
          </a:lstStyle>
          <a:p>
            <a:fld id="{2F665D0F-2EA9-440E-8E13-0E917B7D4D0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2" descr="D:\work\Презентации\Дизайн\shr2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773705"/>
            <a:ext cx="467544" cy="461856"/>
          </a:xfrm>
          <a:prstGeom prst="rect">
            <a:avLst/>
          </a:prstGeom>
          <a:noFill/>
        </p:spPr>
      </p:pic>
      <p:pic>
        <p:nvPicPr>
          <p:cNvPr id="8" name="Picture 2" descr="D:\work\Презентации\Дизайн\logo_prosv2.jp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008" y="61317"/>
            <a:ext cx="1187624" cy="487364"/>
          </a:xfrm>
          <a:prstGeom prst="rect">
            <a:avLst/>
          </a:prstGeom>
          <a:noFill/>
        </p:spPr>
      </p:pic>
      <p:grpSp>
        <p:nvGrpSpPr>
          <p:cNvPr id="2" name="Группа 8"/>
          <p:cNvGrpSpPr/>
          <p:nvPr userDrawn="1"/>
        </p:nvGrpSpPr>
        <p:grpSpPr>
          <a:xfrm>
            <a:off x="1" y="764706"/>
            <a:ext cx="467544" cy="6093296"/>
            <a:chOff x="0" y="764704"/>
            <a:chExt cx="467544" cy="6093296"/>
          </a:xfrm>
        </p:grpSpPr>
        <p:cxnSp>
          <p:nvCxnSpPr>
            <p:cNvPr id="10" name="Прямая соединительная линия 9"/>
            <p:cNvCxnSpPr/>
            <p:nvPr/>
          </p:nvCxnSpPr>
          <p:spPr>
            <a:xfrm>
              <a:off x="467544" y="764704"/>
              <a:ext cx="0" cy="6093296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/>
            <p:cNvCxnSpPr/>
            <p:nvPr/>
          </p:nvCxnSpPr>
          <p:spPr>
            <a:xfrm>
              <a:off x="0" y="764704"/>
              <a:ext cx="46754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/>
          <p:cNvSpPr txBox="1"/>
          <p:nvPr userDrawn="1"/>
        </p:nvSpPr>
        <p:spPr>
          <a:xfrm rot="16200000">
            <a:off x="-2726090" y="3784889"/>
            <a:ext cx="5874523" cy="369154"/>
          </a:xfrm>
          <a:prstGeom prst="rect">
            <a:avLst/>
          </a:prstGeom>
          <a:noFill/>
        </p:spPr>
        <p:txBody>
          <a:bodyPr wrap="none" lIns="91264" tIns="45632" rIns="91264" bIns="45632" rtlCol="0">
            <a:spAutoFit/>
          </a:bodyPr>
          <a:lstStyle/>
          <a:p>
            <a:r>
              <a:rPr lang="ru-RU" spc="250" dirty="0" smtClean="0">
                <a:solidFill>
                  <a:schemeClr val="tx2">
                    <a:lumMod val="75000"/>
                  </a:schemeClr>
                </a:solidFill>
              </a:rPr>
              <a:t>Начальная школа. </a:t>
            </a:r>
            <a:r>
              <a:rPr lang="ru-RU" b="1" spc="250" dirty="0" smtClean="0">
                <a:solidFill>
                  <a:schemeClr val="tx2">
                    <a:lumMod val="75000"/>
                  </a:schemeClr>
                </a:solidFill>
              </a:rPr>
              <a:t>УМК «Школа России»</a:t>
            </a:r>
            <a:endParaRPr lang="ru-RU" b="1" spc="25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 Перспекти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9" descr="persp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318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D:\work\Презентации\Дизайн\logo_prosv2.jp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3326" y="6129349"/>
            <a:ext cx="149225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10"/>
          <p:cNvSpPr txBox="1"/>
          <p:nvPr userDrawn="1"/>
        </p:nvSpPr>
        <p:spPr>
          <a:xfrm>
            <a:off x="235" y="5"/>
            <a:ext cx="3052532" cy="369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91264" tIns="45632" rIns="91264" bIns="45632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pc="600" dirty="0">
                <a:latin typeface="+mn-lt"/>
                <a:cs typeface="+mn-cs"/>
              </a:rPr>
              <a:t>Начальная школ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15898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01574" y="4779150"/>
            <a:ext cx="7785864" cy="1302550"/>
          </a:xfrm>
        </p:spPr>
        <p:txBody>
          <a:bodyPr>
            <a:normAutofit/>
          </a:bodyPr>
          <a:lstStyle>
            <a:lvl1pPr marL="0" indent="0" algn="r">
              <a:buNone/>
              <a:defRPr sz="2000" i="1">
                <a:solidFill>
                  <a:schemeClr val="tx1">
                    <a:tint val="75000"/>
                  </a:schemeClr>
                </a:solidFill>
              </a:defRPr>
            </a:lvl1pPr>
            <a:lvl2pPr marL="456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6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FAFC51-B0C9-4CF8-B553-95A346814F06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C019A6-18AB-4DCD-9A42-214E348FC5E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"/>
          <a:stretch>
            <a:fillRect/>
          </a:stretch>
        </p:blipFill>
        <p:spPr bwMode="auto">
          <a:xfrm>
            <a:off x="1" y="6129300"/>
            <a:ext cx="9144000" cy="7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Рисунок 2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475" y="60325"/>
            <a:ext cx="1944687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Заголовок 1"/>
          <p:cNvSpPr txBox="1">
            <a:spLocks/>
          </p:cNvSpPr>
          <p:nvPr userDrawn="1"/>
        </p:nvSpPr>
        <p:spPr>
          <a:xfrm>
            <a:off x="233363" y="828676"/>
            <a:ext cx="2017712" cy="287338"/>
          </a:xfrm>
          <a:prstGeom prst="rect">
            <a:avLst/>
          </a:prstGeom>
        </p:spPr>
        <p:txBody>
          <a:bodyPr lIns="91248" tIns="45624" rIns="91248" bIns="4562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Начальное образование</a:t>
            </a:r>
            <a:endParaRPr lang="ru-RU" sz="1100" dirty="0">
              <a:solidFill>
                <a:schemeClr val="bg1">
                  <a:lumMod val="50000"/>
                </a:schemeClr>
              </a:solidFill>
              <a:latin typeface="Trebuchet MS" pitchFamily="34" charset="0"/>
            </a:endParaRPr>
          </a:p>
        </p:txBody>
      </p:sp>
      <p:pic>
        <p:nvPicPr>
          <p:cNvPr id="30" name="Рисунок 2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637" y="252413"/>
            <a:ext cx="479425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12"/>
          <p:cNvGrpSpPr/>
          <p:nvPr userDrawn="1"/>
        </p:nvGrpSpPr>
        <p:grpSpPr>
          <a:xfrm>
            <a:off x="8037385" y="85685"/>
            <a:ext cx="985838" cy="508000"/>
            <a:chOff x="8037385" y="85685"/>
            <a:chExt cx="985838" cy="508000"/>
          </a:xfrm>
        </p:grpSpPr>
        <p:pic>
          <p:nvPicPr>
            <p:cNvPr id="9" name="Рисунок 64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64410" y="85685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Рисунок 30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7385" y="538123"/>
              <a:ext cx="985838" cy="555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"/>
          <a:stretch>
            <a:fillRect/>
          </a:stretch>
        </p:blipFill>
        <p:spPr bwMode="auto">
          <a:xfrm>
            <a:off x="-6773" y="6063217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47" y="54714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65" y="751601"/>
            <a:ext cx="1725359" cy="260613"/>
          </a:xfrm>
          <a:prstGeom prst="rect">
            <a:avLst/>
          </a:prstGeom>
        </p:spPr>
        <p:txBody>
          <a:bodyPr lIns="79951" tIns="39976" rIns="79951" bIns="39976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Начальное образование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Trebuchet MS" pitchFamily="34" charset="0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316" y="228951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13"/>
          <p:cNvGrpSpPr/>
          <p:nvPr userDrawn="1"/>
        </p:nvGrpSpPr>
        <p:grpSpPr>
          <a:xfrm>
            <a:off x="8197850" y="194965"/>
            <a:ext cx="946165" cy="490988"/>
            <a:chOff x="9586913" y="71438"/>
            <a:chExt cx="1106487" cy="541337"/>
          </a:xfrm>
        </p:grpSpPr>
        <p:pic>
          <p:nvPicPr>
            <p:cNvPr id="15" name="Рисунок 47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6913" y="161925"/>
              <a:ext cx="1106487" cy="4508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Рисунок 48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6775" y="71438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"/>
          <a:stretch>
            <a:fillRect/>
          </a:stretch>
        </p:blipFill>
        <p:spPr bwMode="auto">
          <a:xfrm>
            <a:off x="0" y="6129338"/>
            <a:ext cx="9144000" cy="728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473" y="60325"/>
            <a:ext cx="1944687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233363" y="828676"/>
            <a:ext cx="2017712" cy="287338"/>
          </a:xfrm>
          <a:prstGeom prst="rect">
            <a:avLst/>
          </a:prstGeom>
        </p:spPr>
        <p:txBody>
          <a:bodyPr lIns="91264" tIns="45632" rIns="91264" bIns="45632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Начальное образование</a:t>
            </a:r>
            <a:endParaRPr lang="ru-RU" sz="1100" dirty="0">
              <a:solidFill>
                <a:schemeClr val="bg1">
                  <a:lumMod val="50000"/>
                </a:schemeClr>
              </a:solidFill>
              <a:latin typeface="Trebuchet MS" pitchFamily="34" charset="0"/>
            </a:endParaRPr>
          </a:p>
        </p:txBody>
      </p:sp>
      <p:pic>
        <p:nvPicPr>
          <p:cNvPr id="5" name="Рисунок 2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635" y="252413"/>
            <a:ext cx="479425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Группа 30"/>
          <p:cNvGrpSpPr>
            <a:grpSpLocks/>
          </p:cNvGrpSpPr>
          <p:nvPr/>
        </p:nvGrpSpPr>
        <p:grpSpPr bwMode="auto">
          <a:xfrm>
            <a:off x="7966075" y="98425"/>
            <a:ext cx="1106488" cy="534988"/>
            <a:chOff x="9586913" y="190004"/>
            <a:chExt cx="1106487" cy="535310"/>
          </a:xfrm>
        </p:grpSpPr>
        <p:pic>
          <p:nvPicPr>
            <p:cNvPr id="7" name="Рисунок 48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Рисунок 46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"/>
          <a:stretch>
            <a:fillRect/>
          </a:stretch>
        </p:blipFill>
        <p:spPr bwMode="auto">
          <a:xfrm>
            <a:off x="-6769" y="6063221"/>
            <a:ext cx="9144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951" y="54714"/>
            <a:ext cx="1662915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99569" y="751601"/>
            <a:ext cx="1725359" cy="260613"/>
          </a:xfrm>
          <a:prstGeom prst="rect">
            <a:avLst/>
          </a:prstGeom>
        </p:spPr>
        <p:txBody>
          <a:bodyPr lIns="79895" tIns="39948" rIns="79895" bIns="39948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 smtClean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Начальное образование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Trebuchet MS" pitchFamily="34" charset="0"/>
            </a:endParaRP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316" y="228955"/>
            <a:ext cx="409960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16"/>
          <p:cNvGrpSpPr/>
          <p:nvPr userDrawn="1"/>
        </p:nvGrpSpPr>
        <p:grpSpPr>
          <a:xfrm>
            <a:off x="8197854" y="200431"/>
            <a:ext cx="946165" cy="485522"/>
            <a:chOff x="9586913" y="190004"/>
            <a:chExt cx="1106487" cy="535310"/>
          </a:xfrm>
        </p:grpSpPr>
        <p:pic>
          <p:nvPicPr>
            <p:cNvPr id="18" name="Рисунок 48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Рисунок 46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_Н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8"/>
          <p:cNvGrpSpPr>
            <a:grpSpLocks/>
          </p:cNvGrpSpPr>
          <p:nvPr userDrawn="1"/>
        </p:nvGrpSpPr>
        <p:grpSpPr bwMode="auto">
          <a:xfrm>
            <a:off x="3" y="1020763"/>
            <a:ext cx="468313" cy="5837237"/>
            <a:chOff x="0" y="764704"/>
            <a:chExt cx="467544" cy="6093296"/>
          </a:xfrm>
        </p:grpSpPr>
        <p:cxnSp>
          <p:nvCxnSpPr>
            <p:cNvPr id="3" name="Прямая соединительная линия 2"/>
            <p:cNvCxnSpPr/>
            <p:nvPr/>
          </p:nvCxnSpPr>
          <p:spPr>
            <a:xfrm>
              <a:off x="467544" y="764704"/>
              <a:ext cx="0" cy="6093296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Прямая соединительная линия 3"/>
            <p:cNvCxnSpPr/>
            <p:nvPr/>
          </p:nvCxnSpPr>
          <p:spPr>
            <a:xfrm>
              <a:off x="0" y="764704"/>
              <a:ext cx="46754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/>
          <p:cNvSpPr txBox="1"/>
          <p:nvPr userDrawn="1"/>
        </p:nvSpPr>
        <p:spPr>
          <a:xfrm rot="16200000">
            <a:off x="-1415359" y="4051648"/>
            <a:ext cx="3253004" cy="369203"/>
          </a:xfrm>
          <a:prstGeom prst="rect">
            <a:avLst/>
          </a:prstGeom>
          <a:noFill/>
        </p:spPr>
        <p:txBody>
          <a:bodyPr wrap="none" lIns="91312" tIns="45656" rIns="91312" bIns="45656">
            <a:spAutoFit/>
          </a:bodyPr>
          <a:lstStyle/>
          <a:p>
            <a:pPr>
              <a:defRPr/>
            </a:pPr>
            <a:r>
              <a:rPr lang="ru-RU" spc="600" dirty="0">
                <a:solidFill>
                  <a:schemeClr val="tx2">
                    <a:lumMod val="75000"/>
                  </a:schemeClr>
                </a:solidFill>
              </a:rPr>
              <a:t>Начальная школа</a:t>
            </a:r>
            <a:endParaRPr lang="ru-RU" b="1" spc="6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6" name="Рисунок 4" descr="fgos.gi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23950"/>
            <a:ext cx="395288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89FB44-8CC9-4337-B755-81BE6FDB0E2F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D7F4B2-2BC2-4E35-AFC9-3C13368119D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34191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8" y="0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4489" tIns="44489" rIns="44489" bIns="44489" anchor="ctr"/>
          <a:lstStyle/>
          <a:p>
            <a:pPr defTabSz="885595" eaLnBrk="1" hangingPunct="1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dirty="0">
              <a:solidFill>
                <a:srgbClr val="FFFFFF"/>
              </a:solidFill>
              <a:latin typeface="+mn-lt"/>
              <a:cs typeface="+mn-cs"/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28" y="33125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8974" tIns="44489" rIns="88974" bIns="44489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79971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" y="6302668"/>
            <a:ext cx="9143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663705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"/>
          <a:stretch>
            <a:fillRect/>
          </a:stretch>
        </p:blipFill>
        <p:spPr bwMode="auto">
          <a:xfrm>
            <a:off x="-6780" y="6106406"/>
            <a:ext cx="9144001" cy="751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hape 453"/>
          <p:cNvSpPr/>
          <p:nvPr userDrawn="1"/>
        </p:nvSpPr>
        <p:spPr>
          <a:xfrm>
            <a:off x="7" y="0"/>
            <a:ext cx="9137213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1948" tIns="41948" rIns="41948" bIns="41948" anchor="ctr"/>
          <a:lstStyle/>
          <a:p>
            <a:pPr defTabSz="835039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2000" dirty="0">
              <a:solidFill>
                <a:srgbClr val="FFFFFF"/>
              </a:solidFill>
              <a:latin typeface="+mn-lt"/>
              <a:cs typeface="+mn-cs"/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168328" y="33124"/>
            <a:ext cx="8807344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3899" tIns="41948" rIns="83899" bIns="41948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35447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ru-RU" altLang="ru-RU" sz="240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12884095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Часть 1. Теоретическа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505" y="6309362"/>
            <a:ext cx="2133600" cy="365125"/>
          </a:xfrm>
        </p:spPr>
        <p:txBody>
          <a:bodyPr/>
          <a:lstStyle>
            <a:lvl1pPr defTabSz="914077">
              <a:defRPr/>
            </a:lvl1pPr>
          </a:lstStyle>
          <a:p>
            <a:pPr>
              <a:defRPr/>
            </a:pPr>
            <a:fld id="{23B0A553-3842-4337-AB94-BC1F43A310D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.10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95957" y="6439252"/>
            <a:ext cx="476545" cy="365125"/>
          </a:xfrm>
        </p:spPr>
        <p:txBody>
          <a:bodyPr/>
          <a:lstStyle>
            <a:lvl1pPr algn="ctr" defTabSz="914077">
              <a:defRPr sz="2000"/>
            </a:lvl1pPr>
          </a:lstStyle>
          <a:p>
            <a:pPr>
              <a:defRPr/>
            </a:pPr>
            <a:fld id="{2F665D0F-2EA9-440E-8E13-0E917B7D4D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 rot="16200000">
            <a:off x="-2416194" y="3219205"/>
            <a:ext cx="5254716" cy="523188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marL="0" marR="0" lvl="0" indent="0" algn="ctr" defTabSz="91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25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Часть 1. </a:t>
            </a:r>
            <a:r>
              <a:rPr kumimoji="0" lang="ru-RU" sz="2800" b="1" i="0" u="none" strike="noStrike" kern="1200" cap="none" spc="25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еоретическая</a:t>
            </a:r>
            <a:endParaRPr kumimoji="0" lang="ru-RU" sz="2800" b="1" i="0" u="none" strike="noStrike" kern="1200" cap="none" spc="25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472774" y="0"/>
            <a:ext cx="0" cy="6858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50632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Часть 2. Практическа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505" y="6309362"/>
            <a:ext cx="2133600" cy="365125"/>
          </a:xfrm>
        </p:spPr>
        <p:txBody>
          <a:bodyPr/>
          <a:lstStyle>
            <a:lvl1pPr defTabSz="914077">
              <a:defRPr/>
            </a:lvl1pPr>
          </a:lstStyle>
          <a:p>
            <a:pPr>
              <a:defRPr/>
            </a:pPr>
            <a:fld id="{23B0A553-3842-4337-AB94-BC1F43A310D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.10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95957" y="6439252"/>
            <a:ext cx="476545" cy="365125"/>
          </a:xfrm>
        </p:spPr>
        <p:txBody>
          <a:bodyPr/>
          <a:lstStyle>
            <a:lvl1pPr algn="ctr" defTabSz="914077">
              <a:defRPr sz="2000"/>
            </a:lvl1pPr>
          </a:lstStyle>
          <a:p>
            <a:pPr>
              <a:defRPr/>
            </a:pPr>
            <a:fld id="{2F665D0F-2EA9-440E-8E13-0E917B7D4D0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 rot="16200000">
            <a:off x="-2416194" y="3249983"/>
            <a:ext cx="5254716" cy="461633"/>
          </a:xfrm>
          <a:prstGeom prst="rect">
            <a:avLst/>
          </a:prstGeom>
          <a:noFill/>
        </p:spPr>
        <p:txBody>
          <a:bodyPr wrap="square" lIns="91408" tIns="45704" rIns="91408" bIns="45704" rtlCol="0">
            <a:spAutoFit/>
          </a:bodyPr>
          <a:lstStyle/>
          <a:p>
            <a:pPr marL="0" marR="0" lvl="0" indent="0" algn="ctr" defTabSz="9140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60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Часть 2. </a:t>
            </a:r>
            <a:r>
              <a:rPr kumimoji="0" lang="ru-RU" sz="2400" b="1" i="0" u="none" strike="noStrike" kern="1200" cap="none" spc="600" normalizeH="0" baseline="0" noProof="0" dirty="0" smtClean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актическая</a:t>
            </a:r>
            <a:endParaRPr kumimoji="0" lang="ru-RU" sz="2400" b="1" i="0" u="none" strike="noStrike" kern="1200" cap="none" spc="60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472774" y="0"/>
            <a:ext cx="0" cy="685800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34546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57200" y="457200"/>
            <a:ext cx="8229600" cy="1371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981200"/>
            <a:ext cx="4038600" cy="1866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4038600" cy="1866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0" y="4000500"/>
            <a:ext cx="4038600" cy="1866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4000500"/>
            <a:ext cx="4038600" cy="1866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98AB07-852C-40A8-9B5B-2ED5F1DCA9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4538201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 Школа Росс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work\Презентации\Дизайн\logo_prosv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3326" y="6129349"/>
            <a:ext cx="149225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9" descr="girl.jp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16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10"/>
          <p:cNvSpPr txBox="1"/>
          <p:nvPr userDrawn="1"/>
        </p:nvSpPr>
        <p:spPr>
          <a:xfrm>
            <a:off x="6091473" y="5"/>
            <a:ext cx="3052532" cy="3691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lIns="91264" tIns="45632" rIns="91264" bIns="45632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pc="600" dirty="0">
                <a:latin typeface="+mn-lt"/>
                <a:cs typeface="+mn-cs"/>
              </a:rPr>
              <a:t>Начальная школ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15898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01574" y="4779150"/>
            <a:ext cx="7785864" cy="1302550"/>
          </a:xfrm>
        </p:spPr>
        <p:txBody>
          <a:bodyPr>
            <a:normAutofit/>
          </a:bodyPr>
          <a:lstStyle>
            <a:lvl1pPr marL="0" indent="0" algn="r">
              <a:buNone/>
              <a:defRPr sz="2000" i="1">
                <a:solidFill>
                  <a:schemeClr val="tx1">
                    <a:tint val="75000"/>
                  </a:schemeClr>
                </a:solidFill>
              </a:defRPr>
            </a:lvl1pPr>
            <a:lvl2pPr marL="456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6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187401-6EF2-45B4-9D3A-707BD68F25C9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6C90B-BB63-4AAF-A8EE-72AA8F2211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453"/>
          <p:cNvSpPr/>
          <p:nvPr userDrawn="1"/>
        </p:nvSpPr>
        <p:spPr>
          <a:xfrm>
            <a:off x="0" y="0"/>
            <a:ext cx="9137650" cy="981075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1992" tIns="41992" rIns="41992" bIns="41992" anchor="ctr"/>
          <a:lstStyle/>
          <a:p>
            <a:pPr defTabSz="835925" eaLnBrk="1" hangingPunct="1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980">
              <a:solidFill>
                <a:srgbClr val="FFFFFF"/>
              </a:solidFill>
              <a:latin typeface="+mn-lt"/>
              <a:cs typeface="+mn-cs"/>
              <a:sym typeface="Calibri"/>
            </a:endParaRPr>
          </a:p>
        </p:txBody>
      </p:sp>
      <p:sp>
        <p:nvSpPr>
          <p:cNvPr id="3" name="Shape 455"/>
          <p:cNvSpPr txBox="1">
            <a:spLocks/>
          </p:cNvSpPr>
          <p:nvPr userDrawn="1"/>
        </p:nvSpPr>
        <p:spPr bwMode="auto">
          <a:xfrm>
            <a:off x="168275" y="33338"/>
            <a:ext cx="8807450" cy="914400"/>
          </a:xfrm>
          <a:prstGeom prst="rect">
            <a:avLst/>
          </a:prstGeom>
          <a:noFill/>
          <a:ln>
            <a:noFill/>
          </a:ln>
          <a:extLst/>
        </p:spPr>
        <p:txBody>
          <a:bodyPr lIns="83987" tIns="41994" rIns="83987" bIns="41994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36225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338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4" name="image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302375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5046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4443256" y="880581"/>
            <a:ext cx="15947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26789" tIns="26789" rIns="26789" bIns="26789" anchor="ctr"/>
          <a:lstStyle/>
          <a:p>
            <a:pPr>
              <a:defRPr sz="3200"/>
            </a:pPr>
            <a:endParaRPr sz="1200"/>
          </a:p>
        </p:txBody>
      </p:sp>
      <p:sp>
        <p:nvSpPr>
          <p:cNvPr id="21" name="Линия"/>
          <p:cNvSpPr/>
          <p:nvPr/>
        </p:nvSpPr>
        <p:spPr>
          <a:xfrm flipH="1">
            <a:off x="4541270" y="880581"/>
            <a:ext cx="15947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26789" tIns="26789" rIns="26789" bIns="26789" anchor="ctr"/>
          <a:lstStyle/>
          <a:p>
            <a:pPr>
              <a:defRPr sz="3200"/>
            </a:pPr>
            <a:endParaRPr sz="1200"/>
          </a:p>
        </p:txBody>
      </p:sp>
      <p:sp>
        <p:nvSpPr>
          <p:cNvPr id="22" name="Линия"/>
          <p:cNvSpPr/>
          <p:nvPr/>
        </p:nvSpPr>
        <p:spPr>
          <a:xfrm flipH="1">
            <a:off x="4507783" y="880581"/>
            <a:ext cx="15947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26789" tIns="26789" rIns="26789" bIns="26789" anchor="ctr"/>
          <a:lstStyle/>
          <a:p>
            <a:pPr>
              <a:defRPr sz="3200"/>
            </a:pPr>
            <a:endParaRPr sz="1200"/>
          </a:p>
        </p:txBody>
      </p:sp>
      <p:sp>
        <p:nvSpPr>
          <p:cNvPr id="23" name="Линия"/>
          <p:cNvSpPr/>
          <p:nvPr/>
        </p:nvSpPr>
        <p:spPr>
          <a:xfrm>
            <a:off x="4332229" y="1279923"/>
            <a:ext cx="479542" cy="0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26789" tIns="26789" rIns="26789" bIns="26789" anchor="ctr"/>
          <a:lstStyle/>
          <a:p>
            <a:pPr>
              <a:defRPr sz="3200"/>
            </a:pPr>
            <a:endParaRPr sz="1200"/>
          </a:p>
        </p:txBody>
      </p:sp>
      <p:sp>
        <p:nvSpPr>
          <p:cNvPr id="24" name="Прямоугольник"/>
          <p:cNvSpPr/>
          <p:nvPr/>
        </p:nvSpPr>
        <p:spPr>
          <a:xfrm>
            <a:off x="-1042" y="-5953"/>
            <a:ext cx="9146084" cy="317469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3200">
                <a:solidFill>
                  <a:srgbClr val="294891"/>
                </a:solidFill>
              </a:defRPr>
            </a:pPr>
            <a:endParaRPr sz="1200"/>
          </a:p>
        </p:txBody>
      </p:sp>
      <p:sp>
        <p:nvSpPr>
          <p:cNvPr id="25" name="Прямоугольник"/>
          <p:cNvSpPr/>
          <p:nvPr/>
        </p:nvSpPr>
        <p:spPr>
          <a:xfrm>
            <a:off x="-1042" y="6546820"/>
            <a:ext cx="9146084" cy="317469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26789" tIns="26789" rIns="26789" bIns="26789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sz="1200"/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540058" y="476085"/>
            <a:ext cx="392809" cy="547763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475931" y="6500813"/>
            <a:ext cx="185442" cy="255588"/>
          </a:xfrm>
          <a:prstGeom prst="rect">
            <a:avLst/>
          </a:prstGeom>
        </p:spPr>
        <p:txBody>
          <a:bodyPr lIns="71437" tIns="71437" rIns="71437" bIns="71437" anchor="t"/>
          <a:lstStyle>
            <a:lvl1pPr algn="ctr" defTabSz="308074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86614354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22266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20260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50439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59329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87339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46933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47725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8443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Ш. Обучение грамоте. Перспекти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work\Презентации\Дизайн\logo_prosv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40" y="61913"/>
            <a:ext cx="1187450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Группа 8"/>
          <p:cNvGrpSpPr>
            <a:grpSpLocks/>
          </p:cNvGrpSpPr>
          <p:nvPr userDrawn="1"/>
        </p:nvGrpSpPr>
        <p:grpSpPr bwMode="auto">
          <a:xfrm>
            <a:off x="3" y="765180"/>
            <a:ext cx="468313" cy="6092825"/>
            <a:chOff x="0" y="764704"/>
            <a:chExt cx="467544" cy="6093296"/>
          </a:xfrm>
        </p:grpSpPr>
        <p:cxnSp>
          <p:nvCxnSpPr>
            <p:cNvPr id="6" name="Прямая соединительная линия 9"/>
            <p:cNvCxnSpPr/>
            <p:nvPr/>
          </p:nvCxnSpPr>
          <p:spPr>
            <a:xfrm>
              <a:off x="467544" y="764704"/>
              <a:ext cx="0" cy="609329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10"/>
            <p:cNvCxnSpPr/>
            <p:nvPr/>
          </p:nvCxnSpPr>
          <p:spPr>
            <a:xfrm>
              <a:off x="0" y="764704"/>
              <a:ext cx="467544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6" descr="sun1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819150"/>
            <a:ext cx="431800" cy="431800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25000"/>
              </a:srgbClr>
            </a:outerShdw>
          </a:effectLst>
        </p:spPr>
      </p:pic>
      <p:sp>
        <p:nvSpPr>
          <p:cNvPr id="9" name="TextBox 11"/>
          <p:cNvSpPr txBox="1"/>
          <p:nvPr userDrawn="1"/>
        </p:nvSpPr>
        <p:spPr>
          <a:xfrm rot="16200000">
            <a:off x="-2394519" y="3895305"/>
            <a:ext cx="5211328" cy="369154"/>
          </a:xfrm>
          <a:prstGeom prst="rect">
            <a:avLst/>
          </a:prstGeom>
          <a:noFill/>
        </p:spPr>
        <p:txBody>
          <a:bodyPr wrap="none" lIns="91264" tIns="45632" rIns="91264" bIns="4563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pc="3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Начальная школа. </a:t>
            </a:r>
            <a:r>
              <a:rPr lang="ru-RU" b="1" spc="3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Обучение грамоте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91640" y="-171450"/>
            <a:ext cx="6995160" cy="1143000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11515" y="1600200"/>
            <a:ext cx="8075295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>
          <a:xfrm>
            <a:off x="611188" y="6308736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08FD2B-841D-4B73-9EFF-9A7CCECEA8D4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596313" y="6438911"/>
            <a:ext cx="476250" cy="365125"/>
          </a:xfrm>
        </p:spPr>
        <p:txBody>
          <a:bodyPr/>
          <a:lstStyle>
            <a:lvl1pPr algn="ctr">
              <a:defRPr sz="2000"/>
            </a:lvl1pPr>
          </a:lstStyle>
          <a:p>
            <a:pPr>
              <a:defRPr/>
            </a:pPr>
            <a:fld id="{8447232F-4AC6-4BBF-9870-86992BEFB2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83439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32026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28685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Ш.  УМК &quot;Перспектива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work\Презентации\Дизайн\logo_prosv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40" y="61913"/>
            <a:ext cx="1187450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Группа 8"/>
          <p:cNvGrpSpPr>
            <a:grpSpLocks/>
          </p:cNvGrpSpPr>
          <p:nvPr userDrawn="1"/>
        </p:nvGrpSpPr>
        <p:grpSpPr bwMode="auto">
          <a:xfrm>
            <a:off x="3" y="765180"/>
            <a:ext cx="468313" cy="6092825"/>
            <a:chOff x="0" y="764704"/>
            <a:chExt cx="467544" cy="6093296"/>
          </a:xfrm>
        </p:grpSpPr>
        <p:cxnSp>
          <p:nvCxnSpPr>
            <p:cNvPr id="6" name="Прямая соединительная линия 9"/>
            <p:cNvCxnSpPr/>
            <p:nvPr/>
          </p:nvCxnSpPr>
          <p:spPr>
            <a:xfrm>
              <a:off x="467544" y="764704"/>
              <a:ext cx="0" cy="609329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Прямая соединительная линия 10"/>
            <p:cNvCxnSpPr/>
            <p:nvPr/>
          </p:nvCxnSpPr>
          <p:spPr>
            <a:xfrm>
              <a:off x="0" y="764704"/>
              <a:ext cx="467544" cy="0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Picture 6" descr="sun1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819150"/>
            <a:ext cx="431800" cy="431800"/>
          </a:xfrm>
          <a:prstGeom prst="rect">
            <a:avLst/>
          </a:prstGeom>
          <a:ln>
            <a:noFill/>
          </a:ln>
          <a:effectLst>
            <a:outerShdw blurRad="50800" dist="25400" dir="2700000" algn="tl" rotWithShape="0">
              <a:srgbClr val="333333">
                <a:alpha val="25000"/>
              </a:srgbClr>
            </a:outerShdw>
          </a:effectLst>
        </p:spPr>
      </p:pic>
      <p:sp>
        <p:nvSpPr>
          <p:cNvPr id="9" name="TextBox 13"/>
          <p:cNvSpPr txBox="1"/>
          <p:nvPr userDrawn="1"/>
        </p:nvSpPr>
        <p:spPr>
          <a:xfrm rot="16200000">
            <a:off x="-2513461" y="3785767"/>
            <a:ext cx="5449213" cy="369154"/>
          </a:xfrm>
          <a:prstGeom prst="rect">
            <a:avLst/>
          </a:prstGeom>
          <a:noFill/>
        </p:spPr>
        <p:txBody>
          <a:bodyPr wrap="none" lIns="91264" tIns="45632" rIns="91264" bIns="45632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pc="3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Начальная школа. </a:t>
            </a:r>
            <a:r>
              <a:rPr lang="ru-RU" b="1" spc="3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УМК</a:t>
            </a:r>
            <a:r>
              <a:rPr lang="ru-RU" spc="3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 </a:t>
            </a:r>
            <a:r>
              <a:rPr lang="ru-RU" b="1" spc="3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«Перспектива»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91640" y="-171450"/>
            <a:ext cx="6995160" cy="1143000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11515" y="1600200"/>
            <a:ext cx="8075295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>
          <a:xfrm>
            <a:off x="611188" y="6308736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C4ADBB-72D5-41E4-B1F5-3ED3304251BD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596313" y="6438911"/>
            <a:ext cx="476250" cy="365125"/>
          </a:xfrm>
        </p:spPr>
        <p:txBody>
          <a:bodyPr/>
          <a:lstStyle>
            <a:lvl1pPr algn="ctr">
              <a:defRPr sz="1800"/>
            </a:lvl1pPr>
          </a:lstStyle>
          <a:p>
            <a:pPr>
              <a:defRPr/>
            </a:pPr>
            <a:fld id="{7F995756-C74F-4885-9ECC-D54DC9ECED6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Ш. Русский язык. Ш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work\Презентации\Дизайн\shr2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" y="773116"/>
            <a:ext cx="4683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D:\work\Презентации\Дизайн\logo_prosv2.jp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40" y="61913"/>
            <a:ext cx="1187450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Группа 8"/>
          <p:cNvGrpSpPr>
            <a:grpSpLocks/>
          </p:cNvGrpSpPr>
          <p:nvPr userDrawn="1"/>
        </p:nvGrpSpPr>
        <p:grpSpPr bwMode="auto">
          <a:xfrm>
            <a:off x="3" y="765180"/>
            <a:ext cx="468313" cy="6092825"/>
            <a:chOff x="0" y="764704"/>
            <a:chExt cx="467544" cy="6093296"/>
          </a:xfrm>
        </p:grpSpPr>
        <p:cxnSp>
          <p:nvCxnSpPr>
            <p:cNvPr id="7" name="Прямая соединительная линия 9"/>
            <p:cNvCxnSpPr/>
            <p:nvPr/>
          </p:nvCxnSpPr>
          <p:spPr>
            <a:xfrm>
              <a:off x="467544" y="764704"/>
              <a:ext cx="0" cy="6093296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единительная линия 10"/>
            <p:cNvCxnSpPr/>
            <p:nvPr/>
          </p:nvCxnSpPr>
          <p:spPr>
            <a:xfrm>
              <a:off x="0" y="764704"/>
              <a:ext cx="46754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12"/>
          <p:cNvSpPr txBox="1"/>
          <p:nvPr userDrawn="1"/>
        </p:nvSpPr>
        <p:spPr>
          <a:xfrm rot="16200000">
            <a:off x="-2052148" y="4215187"/>
            <a:ext cx="4526589" cy="369154"/>
          </a:xfrm>
          <a:prstGeom prst="rect">
            <a:avLst/>
          </a:prstGeom>
          <a:noFill/>
        </p:spPr>
        <p:txBody>
          <a:bodyPr wrap="none" lIns="91264" tIns="45632" rIns="91264" bIns="45632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pc="3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Начальная школа. </a:t>
            </a:r>
            <a:r>
              <a:rPr lang="ru-RU" b="1" spc="3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Русский язы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91640" y="-171450"/>
            <a:ext cx="6995160" cy="1143000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11515" y="1600200"/>
            <a:ext cx="8075295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>
          <a:xfrm>
            <a:off x="611188" y="6308736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1C995E-5A53-4AED-9F47-A14A95954D6A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596313" y="6438911"/>
            <a:ext cx="476250" cy="365125"/>
          </a:xfrm>
        </p:spPr>
        <p:txBody>
          <a:bodyPr/>
          <a:lstStyle>
            <a:lvl1pPr algn="ctr">
              <a:defRPr sz="2000"/>
            </a:lvl1pPr>
          </a:lstStyle>
          <a:p>
            <a:pPr>
              <a:defRPr/>
            </a:pPr>
            <a:fld id="{6CE6CE97-6BF0-4678-85BB-C4C5B18207D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Ш. УМК &quot; Школа России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work\Презентации\Дизайн\shr2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" y="773116"/>
            <a:ext cx="4683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D:\work\Презентации\Дизайн\logo_prosv2.jp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40" y="61913"/>
            <a:ext cx="1187450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Группа 8"/>
          <p:cNvGrpSpPr>
            <a:grpSpLocks/>
          </p:cNvGrpSpPr>
          <p:nvPr userDrawn="1"/>
        </p:nvGrpSpPr>
        <p:grpSpPr bwMode="auto">
          <a:xfrm>
            <a:off x="3" y="765180"/>
            <a:ext cx="468313" cy="6092825"/>
            <a:chOff x="0" y="764704"/>
            <a:chExt cx="467544" cy="6093296"/>
          </a:xfrm>
        </p:grpSpPr>
        <p:cxnSp>
          <p:nvCxnSpPr>
            <p:cNvPr id="7" name="Прямая соединительная линия 9"/>
            <p:cNvCxnSpPr/>
            <p:nvPr/>
          </p:nvCxnSpPr>
          <p:spPr>
            <a:xfrm>
              <a:off x="467544" y="764704"/>
              <a:ext cx="0" cy="6093296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единительная линия 10"/>
            <p:cNvCxnSpPr/>
            <p:nvPr/>
          </p:nvCxnSpPr>
          <p:spPr>
            <a:xfrm>
              <a:off x="0" y="764704"/>
              <a:ext cx="46754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11"/>
          <p:cNvSpPr txBox="1"/>
          <p:nvPr userDrawn="1"/>
        </p:nvSpPr>
        <p:spPr>
          <a:xfrm rot="16200000">
            <a:off x="-2483966" y="3784974"/>
            <a:ext cx="5390223" cy="369154"/>
          </a:xfrm>
          <a:prstGeom prst="rect">
            <a:avLst/>
          </a:prstGeom>
          <a:noFill/>
        </p:spPr>
        <p:txBody>
          <a:bodyPr wrap="none" lIns="91264" tIns="45632" rIns="91264" bIns="45632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pc="25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Начальная школа. </a:t>
            </a:r>
            <a:r>
              <a:rPr lang="ru-RU" b="1" spc="25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УМК «Школа России»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91640" y="-171450"/>
            <a:ext cx="6995160" cy="1143000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11515" y="1600200"/>
            <a:ext cx="8075295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>
          <a:xfrm>
            <a:off x="611188" y="6308736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75739-A7F3-4869-B27B-C00214C94C36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596313" y="6438911"/>
            <a:ext cx="476250" cy="365125"/>
          </a:xfrm>
        </p:spPr>
        <p:txBody>
          <a:bodyPr/>
          <a:lstStyle>
            <a:lvl1pPr algn="ctr">
              <a:defRPr sz="2000"/>
            </a:lvl1pPr>
          </a:lstStyle>
          <a:p>
            <a:pPr>
              <a:defRPr/>
            </a:pPr>
            <a:fld id="{E240F390-ABAE-41CD-90E2-69E52F834C0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Ш. Математика. Ш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work\Презентации\Дизайн\shr2.gif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" y="773116"/>
            <a:ext cx="46831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D:\work\Презентации\Дизайн\logo_prosv2.jp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40" y="61913"/>
            <a:ext cx="1187450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Группа 8"/>
          <p:cNvGrpSpPr>
            <a:grpSpLocks/>
          </p:cNvGrpSpPr>
          <p:nvPr userDrawn="1"/>
        </p:nvGrpSpPr>
        <p:grpSpPr bwMode="auto">
          <a:xfrm>
            <a:off x="3" y="765180"/>
            <a:ext cx="468313" cy="6092825"/>
            <a:chOff x="0" y="764704"/>
            <a:chExt cx="467544" cy="6093296"/>
          </a:xfrm>
        </p:grpSpPr>
        <p:cxnSp>
          <p:nvCxnSpPr>
            <p:cNvPr id="7" name="Прямая соединительная линия 9"/>
            <p:cNvCxnSpPr/>
            <p:nvPr/>
          </p:nvCxnSpPr>
          <p:spPr>
            <a:xfrm>
              <a:off x="467544" y="764704"/>
              <a:ext cx="0" cy="6093296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единительная линия 10"/>
            <p:cNvCxnSpPr/>
            <p:nvPr/>
          </p:nvCxnSpPr>
          <p:spPr>
            <a:xfrm>
              <a:off x="0" y="764704"/>
              <a:ext cx="46754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12"/>
          <p:cNvSpPr txBox="1"/>
          <p:nvPr userDrawn="1"/>
        </p:nvSpPr>
        <p:spPr>
          <a:xfrm rot="16200000">
            <a:off x="-1958597" y="4238999"/>
            <a:ext cx="4339487" cy="369154"/>
          </a:xfrm>
          <a:prstGeom prst="rect">
            <a:avLst/>
          </a:prstGeom>
          <a:noFill/>
        </p:spPr>
        <p:txBody>
          <a:bodyPr wrap="none" lIns="91264" tIns="45632" rIns="91264" bIns="45632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pc="3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Начальная школа. </a:t>
            </a:r>
            <a:r>
              <a:rPr lang="ru-RU" b="1" spc="30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Математи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91640" y="-171450"/>
            <a:ext cx="6995160" cy="1143000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11515" y="1600200"/>
            <a:ext cx="8075295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Дата 3"/>
          <p:cNvSpPr>
            <a:spLocks noGrp="1"/>
          </p:cNvSpPr>
          <p:nvPr>
            <p:ph type="dt" sz="half" idx="10"/>
          </p:nvPr>
        </p:nvSpPr>
        <p:spPr>
          <a:xfrm>
            <a:off x="611188" y="6308736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7083E3-5969-4C10-BB7C-C4B4B81E7CB4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596313" y="6438911"/>
            <a:ext cx="476250" cy="365125"/>
          </a:xfrm>
        </p:spPr>
        <p:txBody>
          <a:bodyPr/>
          <a:lstStyle>
            <a:lvl1pPr algn="ctr">
              <a:defRPr sz="2000"/>
            </a:lvl1pPr>
          </a:lstStyle>
          <a:p>
            <a:pPr>
              <a:defRPr/>
            </a:pPr>
            <a:fld id="{9D45E5DC-600D-4BA4-AFB7-11B556D130F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31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2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89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52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788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41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050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9BC5A6-5521-4D44-8718-33A928B4F33B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Начальная школа. Обучение грамоте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5B1BBB-25DE-4F08-8A31-A92869486A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9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64" tIns="45632" rIns="91264" bIns="456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64" tIns="45632" rIns="91264" bIns="456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1" y="6356361"/>
            <a:ext cx="2133600" cy="365125"/>
          </a:xfrm>
          <a:prstGeom prst="rect">
            <a:avLst/>
          </a:prstGeom>
        </p:spPr>
        <p:txBody>
          <a:bodyPr vert="horz" lIns="91264" tIns="45632" rIns="91264" bIns="45632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34C2AEC-CD81-439D-AB7E-05C4569C9DA8}" type="datetime1">
              <a:rPr lang="ru-RU"/>
              <a:pPr>
                <a:defRPr/>
              </a:pPr>
              <a:t>04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3" y="6356361"/>
            <a:ext cx="2895600" cy="365125"/>
          </a:xfrm>
          <a:prstGeom prst="rect">
            <a:avLst/>
          </a:prstGeom>
        </p:spPr>
        <p:txBody>
          <a:bodyPr vert="horz" lIns="91264" tIns="45632" rIns="91264" bIns="45632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ru-RU"/>
              <a:t>Начальная школа. Обучение грамоте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1"/>
            <a:ext cx="2133600" cy="365125"/>
          </a:xfrm>
          <a:prstGeom prst="rect">
            <a:avLst/>
          </a:prstGeom>
        </p:spPr>
        <p:txBody>
          <a:bodyPr vert="horz" lIns="91264" tIns="45632" rIns="91264" bIns="45632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59D1A6C-D0AE-494D-BC6B-FAFAA7B735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66" r:id="rId9"/>
    <p:sldLayoutId id="2147483665" r:id="rId10"/>
    <p:sldLayoutId id="2147483664" r:id="rId11"/>
    <p:sldLayoutId id="2147483663" r:id="rId12"/>
    <p:sldLayoutId id="2147483662" r:id="rId13"/>
    <p:sldLayoutId id="2147483661" r:id="rId14"/>
    <p:sldLayoutId id="2147483660" r:id="rId15"/>
    <p:sldLayoutId id="2147483659" r:id="rId16"/>
    <p:sldLayoutId id="2147483658" r:id="rId17"/>
    <p:sldLayoutId id="2147483675" r:id="rId18"/>
    <p:sldLayoutId id="2147483676" r:id="rId19"/>
    <p:sldLayoutId id="2147483678" r:id="rId20"/>
    <p:sldLayoutId id="2147483679" r:id="rId21"/>
    <p:sldLayoutId id="2147483680" r:id="rId22"/>
    <p:sldLayoutId id="2147483682" r:id="rId23"/>
    <p:sldLayoutId id="2147483683" r:id="rId24"/>
    <p:sldLayoutId id="2147483686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6314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2627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6894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5255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234" indent="-34223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509" indent="-2852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784" indent="-228156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097" indent="-228156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412" indent="-228156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9723" indent="-228156" algn="l" defTabSz="9126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037" indent="-228156" algn="l" defTabSz="9126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352" indent="-228156" algn="l" defTabSz="9126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8664" indent="-228156" algn="l" defTabSz="91262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14" algn="l" defTabSz="91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627" algn="l" defTabSz="91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940" algn="l" defTabSz="91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255" algn="l" defTabSz="91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566" algn="l" defTabSz="91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882" algn="l" defTabSz="91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194" algn="l" defTabSz="91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505" algn="l" defTabSz="91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B5739D-84BF-4F1E-B07F-4913BA778963}" type="datetimeFigureOut">
              <a:rPr lang="ru-RU" smtClean="0"/>
              <a:t>04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01D0CF-5872-4F11-B7DB-14710B208F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7476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.xml"/><Relationship Id="rId7" Type="http://schemas.openxmlformats.org/officeDocument/2006/relationships/image" Target="../media/image2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43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49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51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53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31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image" Target="../media/image67.jpeg"/><Relationship Id="rId7" Type="http://schemas.openxmlformats.org/officeDocument/2006/relationships/image" Target="../media/image71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70.jpeg"/><Relationship Id="rId11" Type="http://schemas.openxmlformats.org/officeDocument/2006/relationships/image" Target="../media/image75.png"/><Relationship Id="rId5" Type="http://schemas.openxmlformats.org/officeDocument/2006/relationships/image" Target="../media/image69.jpeg"/><Relationship Id="rId10" Type="http://schemas.openxmlformats.org/officeDocument/2006/relationships/image" Target="../media/image74.jpeg"/><Relationship Id="rId4" Type="http://schemas.openxmlformats.org/officeDocument/2006/relationships/image" Target="../media/image68.jpeg"/><Relationship Id="rId9" Type="http://schemas.openxmlformats.org/officeDocument/2006/relationships/image" Target="../media/image73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3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chool-russia.ru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85725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05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57250"/>
            <a:ext cx="9144000" cy="51435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/>
        </p:nvSpPr>
        <p:spPr>
          <a:xfrm rot="10800000">
            <a:off x="0" y="-155722"/>
            <a:ext cx="9144000" cy="7013721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1510" y="548680"/>
            <a:ext cx="8982490" cy="3260701"/>
          </a:xfrm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/>
          <a:p>
            <a:pPr algn="l">
              <a:lnSpc>
                <a:spcPct val="120000"/>
              </a:lnSpc>
              <a:defRPr/>
            </a:pPr>
            <a:r>
              <a:rPr lang="ru-RU" sz="36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ектирование </a:t>
            </a:r>
            <a:r>
              <a:rPr lang="ru-RU" sz="3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ниверсальных учебных действий. </a:t>
            </a:r>
            <a:r>
              <a:rPr lang="ru-RU" sz="36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/>
            </a:r>
            <a:br>
              <a:rPr lang="ru-RU" sz="36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36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ектные </a:t>
            </a:r>
            <a:r>
              <a:rPr lang="ru-RU" sz="3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дачи как способ формирования </a:t>
            </a:r>
            <a:r>
              <a:rPr lang="en-US" sz="3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/>
            </a:r>
            <a:br>
              <a:rPr lang="en-US" sz="3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3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ниверсальных учебных действий </a:t>
            </a:r>
            <a:br>
              <a:rPr lang="ru-RU" sz="3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36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ладших школьников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849359" y="5157316"/>
            <a:ext cx="5210799" cy="1421928"/>
          </a:xfr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eaLnBrk="0" hangingPunct="0"/>
            <a:r>
              <a:rPr lang="ru-RU" altLang="ru-RU" sz="16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юрина Наталья Петровна,</a:t>
            </a:r>
            <a:br>
              <a:rPr lang="ru-RU" altLang="ru-RU" sz="16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altLang="ru-RU" sz="16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дущий методист </a:t>
            </a:r>
          </a:p>
          <a:p>
            <a:pPr algn="l" eaLnBrk="0" hangingPunct="0"/>
            <a:r>
              <a:rPr lang="ru-RU" altLang="ru-RU" sz="16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дакции русского языка и литературного чтения</a:t>
            </a:r>
          </a:p>
          <a:p>
            <a:pPr algn="l" eaLnBrk="0" hangingPunct="0"/>
            <a:r>
              <a:rPr lang="ru-RU" altLang="ru-RU" sz="16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Центра начального образования </a:t>
            </a:r>
          </a:p>
          <a:p>
            <a:pPr algn="l" eaLnBrk="0" hangingPunct="0"/>
            <a:r>
              <a:rPr lang="ru-RU" altLang="ru-RU" sz="16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здательства «Просвещение</a:t>
            </a:r>
            <a:r>
              <a:rPr lang="ru-RU" altLang="ru-RU" sz="1600" dirty="0">
                <a:solidFill>
                  <a:schemeClr val="bg1"/>
                </a:solidFill>
                <a:latin typeface="Trebuchet MS" pitchFamily="34" charset="0"/>
                <a:cs typeface="Tahoma" pitchFamily="34" charset="0"/>
              </a:rPr>
              <a:t>»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7574683" y="1082999"/>
            <a:ext cx="1125698" cy="388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 dirty="0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C5B8FA12-8F11-450D-B1D4-14C77A453207}"/>
              </a:ext>
            </a:extLst>
          </p:cNvPr>
          <p:cNvGrpSpPr/>
          <p:nvPr/>
        </p:nvGrpSpPr>
        <p:grpSpPr>
          <a:xfrm>
            <a:off x="7110700" y="5059135"/>
            <a:ext cx="1598399" cy="552686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6267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71600" y="2033845"/>
            <a:ext cx="743216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dirty="0" smtClean="0"/>
              <a:t>ПРОЕКТНАЯ ДЕЯТЕЛЬНОСТЬ – ОСНОВА </a:t>
            </a:r>
          </a:p>
          <a:p>
            <a:pPr algn="ctr"/>
            <a:r>
              <a:rPr lang="ru-RU" sz="2800" dirty="0" smtClean="0"/>
              <a:t>ДЛЯ ФОРМИРОВАНИЯ</a:t>
            </a:r>
          </a:p>
          <a:p>
            <a:pPr algn="ctr"/>
            <a:r>
              <a:rPr lang="ru-RU" sz="2800" dirty="0" smtClean="0"/>
              <a:t>УНИВЕРСАЛЬНЫХ УЧЕБНЫХ ДЕЙСТВИЙ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598403264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41530" y="1988840"/>
            <a:ext cx="8847475" cy="30854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457200" lvl="0" indent="-342900">
              <a:lnSpc>
                <a:spcPts val="4920"/>
              </a:lnSpc>
              <a:spcAft>
                <a:spcPts val="0"/>
              </a:spcAft>
              <a:buClr>
                <a:srgbClr val="000000"/>
              </a:buClr>
              <a:buSzPts val="3600"/>
              <a:buFont typeface="+mj-lt"/>
              <a:buAutoNum type="alphaUcPeriod"/>
              <a:tabLst>
                <a:tab pos="1136015" algn="l"/>
              </a:tabLst>
            </a:pPr>
            <a:r>
              <a:rPr lang="ru-RU" sz="36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Что-то слышал(а) или читал (а). </a:t>
            </a:r>
          </a:p>
          <a:p>
            <a:pPr marR="457200">
              <a:lnSpc>
                <a:spcPts val="4920"/>
              </a:lnSpc>
              <a:spcAft>
                <a:spcPts val="0"/>
              </a:spcAft>
              <a:tabLst>
                <a:tab pos="1136015" algn="l"/>
              </a:tabLst>
            </a:pPr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    Знаю суть технологии.</a:t>
            </a:r>
          </a:p>
          <a:p>
            <a:pPr lvl="0">
              <a:lnSpc>
                <a:spcPts val="4920"/>
              </a:lnSpc>
              <a:spcAft>
                <a:spcPts val="0"/>
              </a:spcAft>
              <a:buClr>
                <a:srgbClr val="000000"/>
              </a:buClr>
              <a:buSzPts val="3600"/>
              <a:tabLst>
                <a:tab pos="1227455" algn="l"/>
              </a:tabLst>
            </a:pPr>
            <a:r>
              <a:rPr lang="ru-RU" sz="36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.     Применяю </a:t>
            </a:r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 практике.</a:t>
            </a:r>
          </a:p>
          <a:p>
            <a:r>
              <a:rPr lang="ru-RU" sz="3600" dirty="0" smtClean="0">
                <a:solidFill>
                  <a:srgbClr val="000000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Г</a:t>
            </a:r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.     Составляю проектные задачи самостоятельно и применяю.</a:t>
            </a:r>
          </a:p>
        </p:txBody>
      </p:sp>
      <p:sp>
        <p:nvSpPr>
          <p:cNvPr id="3" name="Прямоугольник 5"/>
          <p:cNvSpPr>
            <a:spLocks noChangeArrowheads="1"/>
          </p:cNvSpPr>
          <p:nvPr/>
        </p:nvSpPr>
        <p:spPr bwMode="auto">
          <a:xfrm>
            <a:off x="161510" y="-81390"/>
            <a:ext cx="886598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2627" fontAlgn="auto">
              <a:spcBef>
                <a:spcPts val="0"/>
              </a:spcBef>
              <a:spcAft>
                <a:spcPts val="0"/>
              </a:spcAft>
            </a:pPr>
            <a:r>
              <a:rPr lang="ru-RU" sz="22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Я ЗНАЮ О ПРОЕКТНЫХ ЗАДАЧАХ?</a:t>
            </a:r>
            <a:endParaRPr lang="ru-RU" altLang="ru-RU" sz="22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333695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90" y="820121"/>
            <a:ext cx="4606920" cy="5715635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2095" y="819888"/>
            <a:ext cx="4427990" cy="5714458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5" name="Rectangle 1"/>
          <p:cNvSpPr txBox="1">
            <a:spLocks noChangeArrowheads="1"/>
          </p:cNvSpPr>
          <p:nvPr/>
        </p:nvSpPr>
        <p:spPr>
          <a:xfrm>
            <a:off x="45005" y="233645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ЕННОСТИ ПРОЕКТНОЙ ЗАДАЧИ.</a:t>
            </a:r>
          </a:p>
          <a:p>
            <a:pPr algn="l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РОК «ФРАЗЕОЛОГИЗМЫ» (Русский язык, 4 </a:t>
            </a:r>
            <a:r>
              <a:rPr lang="ru-RU" sz="2400" dirty="0" err="1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л</a:t>
            </a:r>
            <a:r>
              <a:rPr lang="ru-RU" sz="24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)</a:t>
            </a:r>
            <a:endParaRPr lang="ru-RU" sz="240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4076945" y="6416412"/>
            <a:ext cx="6390710" cy="461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08" tIns="45704" rIns="91408" bIns="45704">
            <a:spAutoFit/>
          </a:bodyPr>
          <a:lstStyle/>
          <a:p>
            <a:r>
              <a:rPr lang="ru-RU" sz="2400" i="1" dirty="0">
                <a:solidFill>
                  <a:schemeClr val="bg1"/>
                </a:solidFill>
                <a:cs typeface="Times New Roman" pitchFamily="18" charset="0"/>
              </a:rPr>
              <a:t> </a:t>
            </a:r>
            <a:r>
              <a:rPr lang="ru-RU" sz="2000" dirty="0" smtClean="0">
                <a:solidFill>
                  <a:schemeClr val="bg1"/>
                </a:solidFill>
                <a:cs typeface="Times New Roman" pitchFamily="18" charset="0"/>
              </a:rPr>
              <a:t>«Русский язык», В.П. </a:t>
            </a:r>
            <a:r>
              <a:rPr lang="ru-RU" sz="2000" dirty="0" err="1" smtClean="0">
                <a:solidFill>
                  <a:schemeClr val="bg1"/>
                </a:solidFill>
                <a:cs typeface="Times New Roman" pitchFamily="18" charset="0"/>
              </a:rPr>
              <a:t>Канакина</a:t>
            </a:r>
            <a:r>
              <a:rPr lang="ru-RU" sz="2000" dirty="0" smtClean="0">
                <a:solidFill>
                  <a:schemeClr val="bg1"/>
                </a:solidFill>
                <a:cs typeface="Times New Roman" pitchFamily="18" charset="0"/>
              </a:rPr>
              <a:t>, </a:t>
            </a:r>
            <a:r>
              <a:rPr lang="ru-RU" sz="2000" dirty="0">
                <a:solidFill>
                  <a:schemeClr val="bg1"/>
                </a:solidFill>
                <a:cs typeface="Times New Roman" pitchFamily="18" charset="0"/>
              </a:rPr>
              <a:t>4</a:t>
            </a:r>
            <a:r>
              <a:rPr lang="ru-RU" sz="2000" dirty="0" smtClean="0">
                <a:solidFill>
                  <a:schemeClr val="bg1"/>
                </a:solidFill>
                <a:cs typeface="Times New Roman" pitchFamily="18" charset="0"/>
              </a:rPr>
              <a:t> </a:t>
            </a:r>
            <a:r>
              <a:rPr lang="ru-RU" sz="2000" dirty="0" err="1" smtClean="0">
                <a:solidFill>
                  <a:schemeClr val="bg1"/>
                </a:solidFill>
                <a:cs typeface="Times New Roman" pitchFamily="18" charset="0"/>
              </a:rPr>
              <a:t>кл</a:t>
            </a:r>
            <a:r>
              <a:rPr lang="ru-RU" sz="2000" dirty="0" smtClean="0">
                <a:solidFill>
                  <a:schemeClr val="bg1"/>
                </a:solidFill>
                <a:cs typeface="Times New Roman" pitchFamily="18" charset="0"/>
              </a:rPr>
              <a:t>. </a:t>
            </a:r>
            <a:r>
              <a:rPr lang="ru-RU" sz="2000" dirty="0">
                <a:solidFill>
                  <a:schemeClr val="bg1"/>
                </a:solidFill>
                <a:cs typeface="Times New Roman" pitchFamily="18" charset="0"/>
              </a:rPr>
              <a:t>1 ч.</a:t>
            </a:r>
          </a:p>
        </p:txBody>
      </p:sp>
    </p:spTree>
    <p:extLst>
      <p:ext uri="{BB962C8B-B14F-4D97-AF65-F5344CB8AC3E}">
        <p14:creationId xmlns:p14="http://schemas.microsoft.com/office/powerpoint/2010/main" val="2315883599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6575" y="1133745"/>
            <a:ext cx="7605845" cy="4984125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4076945" y="6416412"/>
            <a:ext cx="6390710" cy="461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08" tIns="45704" rIns="91408" bIns="45704">
            <a:spAutoFit/>
          </a:bodyPr>
          <a:lstStyle/>
          <a:p>
            <a:r>
              <a:rPr lang="ru-RU" sz="2400" i="1" dirty="0">
                <a:solidFill>
                  <a:schemeClr val="bg1"/>
                </a:solidFill>
                <a:cs typeface="Times New Roman" pitchFamily="18" charset="0"/>
              </a:rPr>
              <a:t> </a:t>
            </a:r>
            <a:r>
              <a:rPr lang="ru-RU" sz="2000" dirty="0" smtClean="0">
                <a:solidFill>
                  <a:schemeClr val="bg1"/>
                </a:solidFill>
                <a:cs typeface="Times New Roman" pitchFamily="18" charset="0"/>
              </a:rPr>
              <a:t>«Русский язык», В.П. </a:t>
            </a:r>
            <a:r>
              <a:rPr lang="ru-RU" sz="2000" dirty="0" err="1" smtClean="0">
                <a:solidFill>
                  <a:schemeClr val="bg1"/>
                </a:solidFill>
                <a:cs typeface="Times New Roman" pitchFamily="18" charset="0"/>
              </a:rPr>
              <a:t>Канакина</a:t>
            </a:r>
            <a:r>
              <a:rPr lang="ru-RU" sz="2000" dirty="0" smtClean="0">
                <a:solidFill>
                  <a:schemeClr val="bg1"/>
                </a:solidFill>
                <a:cs typeface="Times New Roman" pitchFamily="18" charset="0"/>
              </a:rPr>
              <a:t>, </a:t>
            </a:r>
            <a:r>
              <a:rPr lang="ru-RU" sz="2000" dirty="0">
                <a:solidFill>
                  <a:schemeClr val="bg1"/>
                </a:solidFill>
                <a:cs typeface="Times New Roman" pitchFamily="18" charset="0"/>
              </a:rPr>
              <a:t>4</a:t>
            </a:r>
            <a:r>
              <a:rPr lang="ru-RU" sz="2000" dirty="0" smtClean="0">
                <a:solidFill>
                  <a:schemeClr val="bg1"/>
                </a:solidFill>
                <a:cs typeface="Times New Roman" pitchFamily="18" charset="0"/>
              </a:rPr>
              <a:t> </a:t>
            </a:r>
            <a:r>
              <a:rPr lang="ru-RU" sz="2000" dirty="0" err="1" smtClean="0">
                <a:solidFill>
                  <a:schemeClr val="bg1"/>
                </a:solidFill>
                <a:cs typeface="Times New Roman" pitchFamily="18" charset="0"/>
              </a:rPr>
              <a:t>кл</a:t>
            </a:r>
            <a:r>
              <a:rPr lang="ru-RU" sz="2000" dirty="0" smtClean="0">
                <a:solidFill>
                  <a:schemeClr val="bg1"/>
                </a:solidFill>
                <a:cs typeface="Times New Roman" pitchFamily="18" charset="0"/>
              </a:rPr>
              <a:t>. </a:t>
            </a:r>
            <a:r>
              <a:rPr lang="ru-RU" sz="2000" dirty="0">
                <a:solidFill>
                  <a:schemeClr val="bg1"/>
                </a:solidFill>
                <a:cs typeface="Times New Roman" pitchFamily="18" charset="0"/>
              </a:rPr>
              <a:t>1 ч.</a:t>
            </a:r>
          </a:p>
        </p:txBody>
      </p:sp>
      <p:sp>
        <p:nvSpPr>
          <p:cNvPr id="7" name="Rectangle 1"/>
          <p:cNvSpPr txBox="1">
            <a:spLocks noChangeArrowheads="1"/>
          </p:cNvSpPr>
          <p:nvPr/>
        </p:nvSpPr>
        <p:spPr>
          <a:xfrm>
            <a:off x="45005" y="233645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ЕННОСТИ ПРОЕКТНОЙ ЗАДАЧИ.</a:t>
            </a:r>
          </a:p>
          <a:p>
            <a:pPr algn="l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РОК «ФРАЗЕОЛОГИЗМЫ» (Русский язык, 4 </a:t>
            </a:r>
            <a:r>
              <a:rPr lang="ru-RU" sz="2400" dirty="0" err="1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л</a:t>
            </a:r>
            <a:r>
              <a:rPr lang="ru-RU" sz="24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)</a:t>
            </a:r>
            <a:endParaRPr lang="ru-RU" sz="240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8414674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uPages. Елена. Фразеологизмы и их происхождение. Фото 5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600" y="1808820"/>
            <a:ext cx="3735415" cy="211264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</p:pic>
      <p:sp>
        <p:nvSpPr>
          <p:cNvPr id="4" name="TextBox 3"/>
          <p:cNvSpPr txBox="1"/>
          <p:nvPr/>
        </p:nvSpPr>
        <p:spPr>
          <a:xfrm>
            <a:off x="1106615" y="4014065"/>
            <a:ext cx="7245805" cy="120032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/>
              <a:t>Раньше носом помимо части лица называли бирку, которую носили при </a:t>
            </a:r>
            <a:r>
              <a:rPr lang="ru-RU" dirty="0" smtClean="0"/>
              <a:t>себе и </a:t>
            </a:r>
            <a:r>
              <a:rPr lang="ru-RU" dirty="0"/>
              <a:t>на которой ставили зарубки для учёта работы, долгов и т.п. </a:t>
            </a:r>
            <a:endParaRPr lang="ru-RU" dirty="0" smtClean="0"/>
          </a:p>
          <a:p>
            <a:r>
              <a:rPr lang="ru-RU" dirty="0" smtClean="0"/>
              <a:t>Благодаря этому возникло </a:t>
            </a:r>
            <a:r>
              <a:rPr lang="ru-RU" dirty="0"/>
              <a:t>выражение "зарубить на носу". </a:t>
            </a:r>
          </a:p>
        </p:txBody>
      </p:sp>
      <p:sp>
        <p:nvSpPr>
          <p:cNvPr id="5" name="Горизонтальный свиток 4"/>
          <p:cNvSpPr/>
          <p:nvPr/>
        </p:nvSpPr>
        <p:spPr>
          <a:xfrm>
            <a:off x="153975" y="1088740"/>
            <a:ext cx="8640960" cy="4905546"/>
          </a:xfrm>
          <a:prstGeom prst="horizontalScroll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4931326" y="2393171"/>
            <a:ext cx="35111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i="1" dirty="0" smtClean="0"/>
              <a:t>«Зарубить на носу» </a:t>
            </a:r>
            <a:r>
              <a:rPr lang="ru-RU" sz="2400" u="sng" dirty="0">
                <a:latin typeface="Arial" panose="020B0604020202020204" pitchFamily="34" charset="0"/>
                <a:cs typeface="Arial" panose="020B0604020202020204" pitchFamily="34" charset="0"/>
              </a:rPr>
              <a:t>(очень хорошо что-то запомнить)</a:t>
            </a:r>
          </a:p>
          <a:p>
            <a:pPr algn="ctr"/>
            <a:endParaRPr lang="ru-RU" sz="2400" i="1" dirty="0"/>
          </a:p>
        </p:txBody>
      </p:sp>
      <p:sp>
        <p:nvSpPr>
          <p:cNvPr id="8" name="Rectangle 1"/>
          <p:cNvSpPr txBox="1">
            <a:spLocks noChangeArrowheads="1"/>
          </p:cNvSpPr>
          <p:nvPr/>
        </p:nvSpPr>
        <p:spPr>
          <a:xfrm>
            <a:off x="0" y="-171400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ЕННОСТИ ПРОЕКТНОЙ ЗАДАЧИ:</a:t>
            </a:r>
            <a:endParaRPr lang="ru-RU" sz="24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883078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Горизонтальный свиток 1"/>
          <p:cNvSpPr/>
          <p:nvPr/>
        </p:nvSpPr>
        <p:spPr>
          <a:xfrm>
            <a:off x="431540" y="548680"/>
            <a:ext cx="5715635" cy="2295255"/>
          </a:xfrm>
          <a:prstGeom prst="horizontalScroll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4" name="TextBox 3"/>
          <p:cNvSpPr txBox="1"/>
          <p:nvPr/>
        </p:nvSpPr>
        <p:spPr>
          <a:xfrm>
            <a:off x="836585" y="1054199"/>
            <a:ext cx="600655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ru-RU" sz="1400" dirty="0" smtClean="0"/>
              <a:t>_____________________________      (</a:t>
            </a:r>
            <a:r>
              <a:rPr lang="ru-RU" sz="1400" dirty="0"/>
              <a:t>заниматься пустяками, </a:t>
            </a:r>
            <a:endParaRPr lang="ru-RU" sz="1400" dirty="0" smtClean="0"/>
          </a:p>
          <a:p>
            <a:pPr latinLnBrk="1"/>
            <a:r>
              <a:rPr lang="ru-RU" sz="1400" dirty="0" smtClean="0"/>
              <a:t>даром</a:t>
            </a:r>
            <a:r>
              <a:rPr lang="ru-RU" sz="1400" dirty="0"/>
              <a:t>, попусту тратить время). От названия старинной игры, </a:t>
            </a:r>
            <a:endParaRPr lang="ru-RU" sz="1400" dirty="0" smtClean="0"/>
          </a:p>
          <a:p>
            <a:pPr latinLnBrk="1"/>
            <a:r>
              <a:rPr lang="ru-RU" sz="1400" dirty="0" smtClean="0"/>
              <a:t>заключавшейся </a:t>
            </a:r>
            <a:r>
              <a:rPr lang="ru-RU" sz="1400" dirty="0"/>
              <a:t>в том, что из беспорядочно разбросанных </a:t>
            </a:r>
            <a:endParaRPr lang="ru-RU" sz="1400" dirty="0" smtClean="0"/>
          </a:p>
          <a:p>
            <a:pPr latinLnBrk="1"/>
            <a:r>
              <a:rPr lang="ru-RU" sz="1400" dirty="0" smtClean="0"/>
              <a:t>_______________ </a:t>
            </a:r>
            <a:r>
              <a:rPr lang="ru-RU" sz="1400" dirty="0"/>
              <a:t>нужно было вытащить маленьким крючком </a:t>
            </a:r>
            <a:endParaRPr lang="ru-RU" sz="1400" dirty="0" smtClean="0"/>
          </a:p>
          <a:p>
            <a:pPr latinLnBrk="1"/>
            <a:r>
              <a:rPr lang="ru-RU" sz="1400" dirty="0" smtClean="0"/>
              <a:t>одну </a:t>
            </a:r>
            <a:r>
              <a:rPr lang="ru-RU" sz="1400" dirty="0"/>
              <a:t>за другой </a:t>
            </a:r>
            <a:r>
              <a:rPr lang="ru-RU" sz="1400" dirty="0" smtClean="0"/>
              <a:t>_______________, </a:t>
            </a:r>
            <a:r>
              <a:rPr lang="ru-RU" sz="1400" dirty="0"/>
              <a:t>но так, чтобы не задеть </a:t>
            </a:r>
            <a:endParaRPr lang="ru-RU" sz="1400" dirty="0" smtClean="0"/>
          </a:p>
          <a:p>
            <a:pPr latinLnBrk="1"/>
            <a:r>
              <a:rPr lang="ru-RU" sz="1400" dirty="0" smtClean="0"/>
              <a:t>остальные.</a:t>
            </a:r>
            <a:endParaRPr lang="ru-RU" sz="1400" dirty="0"/>
          </a:p>
          <a:p>
            <a:endParaRPr lang="ru-RU" sz="1400" dirty="0"/>
          </a:p>
        </p:txBody>
      </p:sp>
      <p:sp>
        <p:nvSpPr>
          <p:cNvPr id="5" name="Rectangle 1"/>
          <p:cNvSpPr txBox="1">
            <a:spLocks noChangeArrowheads="1"/>
          </p:cNvSpPr>
          <p:nvPr/>
        </p:nvSpPr>
        <p:spPr>
          <a:xfrm>
            <a:off x="45004" y="-171400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0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ТЕРИАЛЫ ПРОЕКТНОЙ ЗАДАЧИ:</a:t>
            </a:r>
            <a:endParaRPr lang="ru-RU" sz="20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Горизонтальный свиток 5"/>
          <p:cNvSpPr/>
          <p:nvPr/>
        </p:nvSpPr>
        <p:spPr>
          <a:xfrm>
            <a:off x="2191235" y="2382393"/>
            <a:ext cx="6255694" cy="2970330"/>
          </a:xfrm>
          <a:prstGeom prst="horizontalScroll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7" name="TextBox 6"/>
          <p:cNvSpPr txBox="1"/>
          <p:nvPr/>
        </p:nvSpPr>
        <p:spPr>
          <a:xfrm>
            <a:off x="2636785" y="2933945"/>
            <a:ext cx="563012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ru-RU" sz="1400" dirty="0" smtClean="0"/>
              <a:t>___________________________________________________________ </a:t>
            </a:r>
          </a:p>
          <a:p>
            <a:pPr latinLnBrk="1"/>
            <a:endParaRPr lang="ru-RU" sz="1400" dirty="0"/>
          </a:p>
          <a:p>
            <a:pPr latinLnBrk="1"/>
            <a:r>
              <a:rPr lang="ru-RU" sz="1400" dirty="0" smtClean="0"/>
              <a:t>Разглашать </a:t>
            </a:r>
            <a:r>
              <a:rPr lang="ru-RU" sz="1400" dirty="0"/>
              <a:t>ссоры, дрязги, происходящие между </a:t>
            </a:r>
            <a:r>
              <a:rPr lang="ru-RU" sz="1400" dirty="0" smtClean="0"/>
              <a:t>близкими людьми.    </a:t>
            </a:r>
            <a:r>
              <a:rPr lang="ru-RU" sz="1400" dirty="0"/>
              <a:t>Выражение возникло в среде крестьян, по поверьям которых нельзя </a:t>
            </a:r>
            <a:r>
              <a:rPr lang="ru-RU" sz="1400" dirty="0" smtClean="0"/>
              <a:t>было </a:t>
            </a:r>
            <a:r>
              <a:rPr lang="ru-RU" sz="1400" dirty="0"/>
              <a:t>выносить </a:t>
            </a:r>
            <a:r>
              <a:rPr lang="ru-RU" sz="1400" dirty="0" smtClean="0"/>
              <a:t>__________________, </a:t>
            </a:r>
            <a:r>
              <a:rPr lang="ru-RU" sz="1400" dirty="0"/>
              <a:t>так как он мог послужить злым людям для порчи. </a:t>
            </a:r>
            <a:r>
              <a:rPr lang="ru-RU" sz="1400" dirty="0" smtClean="0"/>
              <a:t>____________ </a:t>
            </a:r>
            <a:r>
              <a:rPr lang="ru-RU" sz="1400" dirty="0"/>
              <a:t>нужно было собирать и сжигать </a:t>
            </a:r>
            <a:r>
              <a:rPr lang="ru-RU" sz="1400" dirty="0" smtClean="0"/>
              <a:t>в    </a:t>
            </a:r>
            <a:r>
              <a:rPr lang="ru-RU" sz="1400" dirty="0"/>
              <a:t>печке.</a:t>
            </a:r>
          </a:p>
          <a:p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720568111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161" y="3374295"/>
            <a:ext cx="2736654" cy="2219702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6663" y="1237863"/>
            <a:ext cx="2741843" cy="198022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6146" name="Picture 2" descr="http://igrushka.kz/vip112/bir_m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3619" y="1237862"/>
            <a:ext cx="2723866" cy="4351377"/>
          </a:xfrm>
          <a:prstGeom prst="rect">
            <a:avLst/>
          </a:prstGeom>
          <a:noFill/>
          <a:ln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161" y="1237864"/>
            <a:ext cx="2736654" cy="198022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" name="Rectangle 1"/>
          <p:cNvSpPr txBox="1">
            <a:spLocks noChangeArrowheads="1"/>
          </p:cNvSpPr>
          <p:nvPr/>
        </p:nvSpPr>
        <p:spPr>
          <a:xfrm>
            <a:off x="45004" y="-171400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0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ТЕРИАЛЫ ПРОЕКТНОЙ ЗАДАЧИ:</a:t>
            </a:r>
            <a:endParaRPr lang="ru-RU" sz="20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925251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Горизонтальный свиток 1"/>
          <p:cNvSpPr/>
          <p:nvPr/>
        </p:nvSpPr>
        <p:spPr>
          <a:xfrm>
            <a:off x="341531" y="1403775"/>
            <a:ext cx="8370930" cy="855095"/>
          </a:xfrm>
          <a:prstGeom prst="horizontalScroll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Горизонтальный свиток 2"/>
          <p:cNvSpPr/>
          <p:nvPr/>
        </p:nvSpPr>
        <p:spPr>
          <a:xfrm>
            <a:off x="339687" y="2573905"/>
            <a:ext cx="8370930" cy="855095"/>
          </a:xfrm>
          <a:prstGeom prst="horizontalScroll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Горизонтальный свиток 3"/>
          <p:cNvSpPr/>
          <p:nvPr/>
        </p:nvSpPr>
        <p:spPr>
          <a:xfrm>
            <a:off x="321975" y="3744035"/>
            <a:ext cx="8370930" cy="855095"/>
          </a:xfrm>
          <a:prstGeom prst="horizontalScroll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Горизонтальный свиток 4"/>
          <p:cNvSpPr/>
          <p:nvPr/>
        </p:nvSpPr>
        <p:spPr>
          <a:xfrm>
            <a:off x="348775" y="4914165"/>
            <a:ext cx="8370930" cy="855095"/>
          </a:xfrm>
          <a:prstGeom prst="horizontalScroll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862035" y="1547859"/>
            <a:ext cx="72908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/>
              <a:t>«Выносить сор из избы»</a:t>
            </a:r>
            <a:endParaRPr lang="ru-RU" sz="3200" dirty="0"/>
          </a:p>
        </p:txBody>
      </p:sp>
      <p:sp>
        <p:nvSpPr>
          <p:cNvPr id="9" name="TextBox 8"/>
          <p:cNvSpPr txBox="1"/>
          <p:nvPr/>
        </p:nvSpPr>
        <p:spPr>
          <a:xfrm>
            <a:off x="348775" y="2709064"/>
            <a:ext cx="83441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/>
              <a:t>«Работать спустя рукава/ засучив рукава»</a:t>
            </a:r>
            <a:endParaRPr lang="ru-RU" sz="3200" dirty="0"/>
          </a:p>
        </p:txBody>
      </p:sp>
      <p:sp>
        <p:nvSpPr>
          <p:cNvPr id="10" name="TextBox 9"/>
          <p:cNvSpPr txBox="1"/>
          <p:nvPr/>
        </p:nvSpPr>
        <p:spPr>
          <a:xfrm>
            <a:off x="888835" y="3856878"/>
            <a:ext cx="72908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/>
              <a:t>«Писать как курица лапой»</a:t>
            </a:r>
            <a:endParaRPr lang="ru-RU" sz="3200" dirty="0"/>
          </a:p>
        </p:txBody>
      </p:sp>
      <p:sp>
        <p:nvSpPr>
          <p:cNvPr id="11" name="TextBox 10"/>
          <p:cNvSpPr txBox="1"/>
          <p:nvPr/>
        </p:nvSpPr>
        <p:spPr>
          <a:xfrm>
            <a:off x="875435" y="5049324"/>
            <a:ext cx="72908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/>
              <a:t>«Играть в бирюльки»</a:t>
            </a:r>
            <a:endParaRPr lang="ru-RU" sz="3200" dirty="0"/>
          </a:p>
        </p:txBody>
      </p:sp>
      <p:sp>
        <p:nvSpPr>
          <p:cNvPr id="14" name="Rectangle 1"/>
          <p:cNvSpPr txBox="1">
            <a:spLocks noChangeArrowheads="1"/>
          </p:cNvSpPr>
          <p:nvPr/>
        </p:nvSpPr>
        <p:spPr>
          <a:xfrm>
            <a:off x="45004" y="-171400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0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ТЕРИАЛЫ ПРОЕКТНОЙ ЗАДАЧИ:</a:t>
            </a:r>
            <a:endParaRPr lang="ru-RU" sz="20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540597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uPages. Елена. Фразеологизмы и их происхождение. Фото 5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600" y="1808820"/>
            <a:ext cx="3735415" cy="211264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</p:pic>
      <p:sp>
        <p:nvSpPr>
          <p:cNvPr id="4" name="TextBox 3"/>
          <p:cNvSpPr txBox="1"/>
          <p:nvPr/>
        </p:nvSpPr>
        <p:spPr>
          <a:xfrm>
            <a:off x="1106615" y="4014065"/>
            <a:ext cx="7245805" cy="120032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/>
              <a:t>Раньше носом помимо части лица называли бирку, которую носили при </a:t>
            </a:r>
            <a:r>
              <a:rPr lang="ru-RU" dirty="0" smtClean="0"/>
              <a:t>себе и </a:t>
            </a:r>
            <a:r>
              <a:rPr lang="ru-RU" dirty="0"/>
              <a:t>на которой ставили зарубки для учёта работы, долгов и т.п. </a:t>
            </a:r>
            <a:endParaRPr lang="ru-RU" dirty="0" smtClean="0"/>
          </a:p>
          <a:p>
            <a:r>
              <a:rPr lang="ru-RU" dirty="0" smtClean="0"/>
              <a:t>Благодаря этому возникло </a:t>
            </a:r>
            <a:r>
              <a:rPr lang="ru-RU" dirty="0"/>
              <a:t>выражение "зарубить на носу". </a:t>
            </a:r>
          </a:p>
        </p:txBody>
      </p:sp>
      <p:sp>
        <p:nvSpPr>
          <p:cNvPr id="5" name="Горизонтальный свиток 4"/>
          <p:cNvSpPr/>
          <p:nvPr/>
        </p:nvSpPr>
        <p:spPr>
          <a:xfrm>
            <a:off x="153975" y="1088740"/>
            <a:ext cx="8640960" cy="4905546"/>
          </a:xfrm>
          <a:prstGeom prst="horizontalScroll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4931326" y="2393171"/>
            <a:ext cx="35111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i="1" dirty="0" smtClean="0"/>
              <a:t>«Зарубить на носу» </a:t>
            </a:r>
            <a:r>
              <a:rPr lang="ru-RU" sz="2400" u="sng" dirty="0">
                <a:latin typeface="Arial" panose="020B0604020202020204" pitchFamily="34" charset="0"/>
                <a:cs typeface="Arial" panose="020B0604020202020204" pitchFamily="34" charset="0"/>
              </a:rPr>
              <a:t>(очень хорошо что-то запомнить)</a:t>
            </a:r>
          </a:p>
          <a:p>
            <a:pPr algn="ctr"/>
            <a:endParaRPr lang="ru-RU" sz="2400" i="1" dirty="0"/>
          </a:p>
        </p:txBody>
      </p:sp>
      <p:sp>
        <p:nvSpPr>
          <p:cNvPr id="8" name="Rectangle 1"/>
          <p:cNvSpPr txBox="1">
            <a:spLocks noChangeArrowheads="1"/>
          </p:cNvSpPr>
          <p:nvPr/>
        </p:nvSpPr>
        <p:spPr>
          <a:xfrm>
            <a:off x="0" y="-171400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ЕННОСТИ ПРОЕКТНОЙ ЗАДАЧИ:</a:t>
            </a:r>
            <a:endParaRPr lang="ru-RU" sz="24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5319034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3259" y="-81390"/>
            <a:ext cx="8982491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solidFill>
                  <a:schemeClr val="bg1"/>
                </a:solidFill>
              </a:rPr>
              <a:t>ДЕЙСТВУЙТЕ ПО ПЛАНУ:</a:t>
            </a:r>
          </a:p>
          <a:p>
            <a:pPr algn="ctr"/>
            <a:endParaRPr lang="ru-RU" sz="2800" dirty="0" smtClean="0"/>
          </a:p>
          <a:p>
            <a:pPr algn="ctr"/>
            <a:endParaRPr lang="ru-RU" sz="2800" dirty="0"/>
          </a:p>
          <a:p>
            <a:pPr marL="228600" indent="-228600">
              <a:buAutoNum type="arabicPeriod"/>
            </a:pPr>
            <a:r>
              <a:rPr lang="ru-RU" sz="2800" dirty="0"/>
              <a:t>Сначала внимательно прочитайте полученные материалы: фрагменты словарных статей, рассмотрите иллюстрации.</a:t>
            </a:r>
          </a:p>
          <a:p>
            <a:pPr marL="228600" indent="-228600">
              <a:buAutoNum type="arabicPeriod"/>
            </a:pPr>
            <a:r>
              <a:rPr lang="ru-RU" sz="2800" dirty="0"/>
              <a:t>Вырежьте фрагменты. Вместе с </a:t>
            </a:r>
            <a:r>
              <a:rPr lang="ru-RU" sz="2800" dirty="0" smtClean="0"/>
              <a:t>партнёром или партнерами восстановите (устно) тексты, </a:t>
            </a:r>
            <a:r>
              <a:rPr lang="ru-RU" sz="2800" dirty="0"/>
              <a:t>подберите к ним рисунки и </a:t>
            </a:r>
            <a:r>
              <a:rPr lang="ru-RU" sz="2800" dirty="0" smtClean="0"/>
              <a:t>заголовки</a:t>
            </a:r>
            <a:r>
              <a:rPr lang="ru-RU" sz="2800" dirty="0"/>
              <a:t>. Для удобства работы пронумеруйте карандашом части одной статьи, например, 1а, 1б и т.д</a:t>
            </a:r>
            <a:r>
              <a:rPr lang="ru-RU" sz="2800" dirty="0" smtClean="0"/>
              <a:t>.</a:t>
            </a:r>
          </a:p>
          <a:p>
            <a:pPr marL="228600" indent="-228600">
              <a:buFontTx/>
              <a:buAutoNum type="arabicPeriod"/>
            </a:pPr>
            <a:r>
              <a:rPr lang="ru-RU" sz="2800" dirty="0"/>
              <a:t>Допишите недостающие строки в </a:t>
            </a:r>
            <a:r>
              <a:rPr lang="ru-RU" sz="2800" dirty="0" smtClean="0"/>
              <a:t>тексте статьи.</a:t>
            </a:r>
            <a:endParaRPr lang="ru-RU" sz="2800" dirty="0"/>
          </a:p>
          <a:p>
            <a:pPr marL="228600" indent="-228600">
              <a:buAutoNum type="arabicPeriod"/>
            </a:pPr>
            <a:r>
              <a:rPr lang="ru-RU" sz="2800" dirty="0"/>
              <a:t>Наклейте фрагменты на </a:t>
            </a:r>
            <a:r>
              <a:rPr lang="ru-RU" sz="2800" dirty="0" smtClean="0"/>
              <a:t>основу (смотри Приложение).</a:t>
            </a:r>
            <a:endParaRPr lang="ru-RU" sz="2800" dirty="0"/>
          </a:p>
          <a:p>
            <a:endParaRPr lang="ru-RU" sz="2800" dirty="0" smtClean="0"/>
          </a:p>
        </p:txBody>
      </p:sp>
    </p:spTree>
    <p:extLst>
      <p:ext uri="{BB962C8B-B14F-4D97-AF65-F5344CB8AC3E}">
        <p14:creationId xmlns:p14="http://schemas.microsoft.com/office/powerpoint/2010/main" val="1775822800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angle 6"/>
          <p:cNvSpPr>
            <a:spLocks noGrp="1" noChangeArrowheads="1"/>
          </p:cNvSpPr>
          <p:nvPr>
            <p:ph type="sldNum" sz="quarter" idx="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A657B751-FB39-49AF-A28A-876D10B60A1D}" type="slidenum">
              <a:rPr lang="ru-RU" altLang="ru-RU"/>
              <a:pPr/>
              <a:t>2</a:t>
            </a:fld>
            <a:endParaRPr lang="ru-RU" altLang="ru-RU"/>
          </a:p>
        </p:txBody>
      </p:sp>
      <p:sp>
        <p:nvSpPr>
          <p:cNvPr id="13314" name="Rectangle 21"/>
          <p:cNvSpPr>
            <a:spLocks noGrp="1" noChangeArrowheads="1"/>
          </p:cNvSpPr>
          <p:nvPr>
            <p:ph type="body" idx="4294967295"/>
          </p:nvPr>
        </p:nvSpPr>
        <p:spPr>
          <a:xfrm>
            <a:off x="728663" y="1198563"/>
            <a:ext cx="8415337" cy="5516562"/>
          </a:xfrm>
        </p:spPr>
        <p:txBody>
          <a:bodyPr/>
          <a:lstStyle/>
          <a:p>
            <a:pPr marL="609600" indent="-609600">
              <a:lnSpc>
                <a:spcPct val="90000"/>
              </a:lnSpc>
              <a:spcBef>
                <a:spcPts val="1200"/>
              </a:spcBef>
              <a:buFontTx/>
              <a:buAutoNum type="arabicPeriod"/>
            </a:pPr>
            <a:endParaRPr lang="ru-RU" altLang="ru-RU" sz="3000" dirty="0" smtClean="0">
              <a:solidFill>
                <a:srgbClr val="000000"/>
              </a:solidFill>
              <a:latin typeface="Arial" pitchFamily="34" charset="0"/>
            </a:endParaRPr>
          </a:p>
          <a:p>
            <a:pPr marL="609600" indent="-609600">
              <a:lnSpc>
                <a:spcPct val="90000"/>
              </a:lnSpc>
              <a:spcBef>
                <a:spcPts val="1200"/>
              </a:spcBef>
              <a:buFontTx/>
              <a:buAutoNum type="arabicPeriod"/>
            </a:pPr>
            <a:r>
              <a:rPr lang="ru-RU" altLang="ru-RU" sz="3000" dirty="0" smtClean="0">
                <a:solidFill>
                  <a:srgbClr val="000000"/>
                </a:solidFill>
                <a:latin typeface="Arial" pitchFamily="34" charset="0"/>
              </a:rPr>
              <a:t>Актуальность обсуждаемых вопросов.</a:t>
            </a:r>
          </a:p>
          <a:p>
            <a:pPr marL="609600" indent="-609600">
              <a:lnSpc>
                <a:spcPct val="90000"/>
              </a:lnSpc>
              <a:spcBef>
                <a:spcPts val="1200"/>
              </a:spcBef>
              <a:buFontTx/>
              <a:buAutoNum type="arabicPeriod"/>
            </a:pPr>
            <a:r>
              <a:rPr lang="ru-RU" altLang="ru-RU" sz="3000" dirty="0" smtClean="0">
                <a:solidFill>
                  <a:srgbClr val="000000"/>
                </a:solidFill>
                <a:latin typeface="Arial" pitchFamily="34" charset="0"/>
              </a:rPr>
              <a:t>Особенности проектной задачи.</a:t>
            </a:r>
          </a:p>
          <a:p>
            <a:pPr marL="609600" indent="-609600">
              <a:lnSpc>
                <a:spcPct val="90000"/>
              </a:lnSpc>
              <a:spcBef>
                <a:spcPts val="1200"/>
              </a:spcBef>
              <a:buFontTx/>
              <a:buAutoNum type="arabicPeriod"/>
            </a:pPr>
            <a:r>
              <a:rPr lang="ru-RU" altLang="ru-RU" sz="3000" dirty="0" smtClean="0">
                <a:solidFill>
                  <a:srgbClr val="000000"/>
                </a:solidFill>
                <a:latin typeface="Arial" pitchFamily="34" charset="0"/>
              </a:rPr>
              <a:t>Структура, алгоритм решения проектной задачи.</a:t>
            </a:r>
          </a:p>
          <a:p>
            <a:pPr marL="609600" indent="-609600">
              <a:lnSpc>
                <a:spcPct val="90000"/>
              </a:lnSpc>
              <a:spcBef>
                <a:spcPts val="1200"/>
              </a:spcBef>
              <a:buFontTx/>
              <a:buAutoNum type="arabicPeriod"/>
            </a:pPr>
            <a:r>
              <a:rPr lang="ru-RU" altLang="ru-RU" sz="3000" dirty="0" smtClean="0">
                <a:solidFill>
                  <a:srgbClr val="000000"/>
                </a:solidFill>
                <a:latin typeface="Arial" pitchFamily="34" charset="0"/>
              </a:rPr>
              <a:t>Этапы создания проектной задачи.</a:t>
            </a:r>
          </a:p>
          <a:p>
            <a:pPr marL="609600" indent="-609600">
              <a:lnSpc>
                <a:spcPct val="90000"/>
              </a:lnSpc>
              <a:spcBef>
                <a:spcPts val="1200"/>
              </a:spcBef>
              <a:buFontTx/>
              <a:buAutoNum type="arabicPeriod"/>
            </a:pPr>
            <a:r>
              <a:rPr lang="ru-RU" altLang="ru-RU" sz="3000" dirty="0" smtClean="0">
                <a:solidFill>
                  <a:srgbClr val="000000"/>
                </a:solidFill>
                <a:latin typeface="Arial" pitchFamily="34" charset="0"/>
              </a:rPr>
              <a:t>Педагогические эффекты.</a:t>
            </a:r>
          </a:p>
        </p:txBody>
      </p:sp>
      <p:sp>
        <p:nvSpPr>
          <p:cNvPr id="13316" name="Text Box 2"/>
          <p:cNvSpPr txBox="1">
            <a:spLocks noChangeArrowheads="1"/>
          </p:cNvSpPr>
          <p:nvPr/>
        </p:nvSpPr>
        <p:spPr bwMode="auto">
          <a:xfrm>
            <a:off x="9813925" y="6518275"/>
            <a:ext cx="1841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endParaRPr lang="ru-RU" altLang="ru-RU" sz="2400">
              <a:latin typeface="Times New Roman" pitchFamily="18" charset="0"/>
            </a:endParaRPr>
          </a:p>
        </p:txBody>
      </p:sp>
      <p:sp>
        <p:nvSpPr>
          <p:cNvPr id="13317" name="Прямоугольник 5"/>
          <p:cNvSpPr>
            <a:spLocks noChangeArrowheads="1"/>
          </p:cNvSpPr>
          <p:nvPr/>
        </p:nvSpPr>
        <p:spPr bwMode="auto">
          <a:xfrm>
            <a:off x="2148504" y="11308"/>
            <a:ext cx="4982005" cy="36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>
              <a:lnSpc>
                <a:spcPct val="80000"/>
              </a:lnSpc>
            </a:pPr>
            <a:r>
              <a:rPr lang="ru-RU" altLang="ru-RU" sz="2200" dirty="0">
                <a:solidFill>
                  <a:schemeClr val="bg1"/>
                </a:solidFill>
              </a:rPr>
              <a:t>КРУГ ОБСУЖДАЕМЫХ ВОПРОСОВ: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36586" y="2098446"/>
            <a:ext cx="756084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atinLnBrk="1"/>
            <a:r>
              <a:rPr lang="ru-RU" sz="2000" dirty="0" smtClean="0"/>
              <a:t>Над восстановлением словарных статей работали:</a:t>
            </a:r>
          </a:p>
          <a:p>
            <a:pPr latinLnBrk="1"/>
            <a:r>
              <a:rPr lang="ru-RU" sz="2000" dirty="0" smtClean="0"/>
              <a:t>____________________________________________________</a:t>
            </a:r>
          </a:p>
          <a:p>
            <a:pPr latinLnBrk="1"/>
            <a:endParaRPr lang="ru-RU" sz="2000" dirty="0"/>
          </a:p>
          <a:p>
            <a:pPr latinLnBrk="1"/>
            <a:r>
              <a:rPr lang="ru-RU" sz="2000" dirty="0" smtClean="0"/>
              <a:t>____________________________________________________</a:t>
            </a:r>
          </a:p>
          <a:p>
            <a:pPr latinLnBrk="1"/>
            <a:endParaRPr lang="ru-RU" sz="2000" dirty="0"/>
          </a:p>
          <a:p>
            <a:pPr latinLnBrk="1"/>
            <a:r>
              <a:rPr lang="ru-RU" sz="2000" dirty="0" smtClean="0"/>
              <a:t>Мы (с интересом, с трудом) собирали словарные статьи. </a:t>
            </a:r>
          </a:p>
          <a:p>
            <a:pPr latinLnBrk="1"/>
            <a:r>
              <a:rPr lang="ru-RU" sz="2000" dirty="0" smtClean="0"/>
              <a:t>Мы  старались работать (спустя рукава, засучив рукава). </a:t>
            </a:r>
          </a:p>
          <a:p>
            <a:pPr latinLnBrk="1"/>
            <a:r>
              <a:rPr lang="ru-RU" sz="2000" dirty="0" smtClean="0"/>
              <a:t>Мы   (не выносили сор из избы, звонили во все колокола).</a:t>
            </a:r>
            <a:endParaRPr lang="ru-RU" sz="2000" dirty="0"/>
          </a:p>
          <a:p>
            <a:r>
              <a:rPr lang="ru-RU" sz="2000" dirty="0" smtClean="0"/>
              <a:t>Мы были как (два сапога пара, кто во что горазд). </a:t>
            </a:r>
            <a:endParaRPr lang="ru-RU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3581890" y="1403775"/>
            <a:ext cx="23687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ПОДВЕДЁМ ИТОГИ</a:t>
            </a:r>
            <a:endParaRPr lang="ru-RU" b="1" dirty="0"/>
          </a:p>
        </p:txBody>
      </p:sp>
      <p:sp>
        <p:nvSpPr>
          <p:cNvPr id="6" name="Багетная рамка 5"/>
          <p:cNvSpPr/>
          <p:nvPr/>
        </p:nvSpPr>
        <p:spPr>
          <a:xfrm>
            <a:off x="206515" y="1268760"/>
            <a:ext cx="8820980" cy="4995555"/>
          </a:xfrm>
          <a:prstGeom prst="bevel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Rectangle 1"/>
          <p:cNvSpPr txBox="1">
            <a:spLocks noChangeArrowheads="1"/>
          </p:cNvSpPr>
          <p:nvPr/>
        </p:nvSpPr>
        <p:spPr>
          <a:xfrm>
            <a:off x="45004" y="-171400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0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ТЕРИАЛЫ ПРОЕКТНОЙ ЗАДАЧИ:</a:t>
            </a:r>
            <a:endParaRPr lang="ru-RU" sz="20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2534050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 txBox="1">
            <a:spLocks noChangeArrowheads="1"/>
          </p:cNvSpPr>
          <p:nvPr/>
        </p:nvSpPr>
        <p:spPr>
          <a:xfrm>
            <a:off x="0" y="-171400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ЕННОСТИ ПРОЕКТНОЙ ЗАДАЧИ:</a:t>
            </a:r>
            <a:endParaRPr lang="ru-RU" sz="24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4012" y="1062309"/>
            <a:ext cx="9068508" cy="5678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latinLnBrk="1">
              <a:buFont typeface="Wingdings" panose="05000000000000000000" pitchFamily="2" charset="2"/>
              <a:buChar char="ü"/>
            </a:pPr>
            <a:r>
              <a:rPr lang="ru-RU" sz="2600" dirty="0"/>
              <a:t>п</a:t>
            </a:r>
            <a:r>
              <a:rPr lang="ru-RU" sz="2600" dirty="0" smtClean="0"/>
              <a:t>роблемная (модельная</a:t>
            </a:r>
            <a:r>
              <a:rPr lang="en-US" sz="2600" dirty="0" smtClean="0"/>
              <a:t>) </a:t>
            </a:r>
            <a:r>
              <a:rPr lang="ru-RU" sz="2600" dirty="0" smtClean="0"/>
              <a:t>ситуация;</a:t>
            </a:r>
          </a:p>
          <a:p>
            <a:pPr latinLnBrk="1"/>
            <a:endParaRPr lang="ru-RU" sz="1400" dirty="0" smtClean="0"/>
          </a:p>
          <a:p>
            <a:pPr marL="285750" indent="-285750" latinLnBrk="1">
              <a:buFont typeface="Wingdings" panose="05000000000000000000" pitchFamily="2" charset="2"/>
              <a:buChar char="ü"/>
            </a:pPr>
            <a:r>
              <a:rPr lang="ru-RU" sz="2600" dirty="0"/>
              <a:t>д</a:t>
            </a:r>
            <a:r>
              <a:rPr lang="ru-RU" sz="2600" dirty="0" smtClean="0"/>
              <a:t>ля решения задачи все необходимые материалы        предоставляются;</a:t>
            </a:r>
          </a:p>
          <a:p>
            <a:pPr latinLnBrk="1"/>
            <a:endParaRPr lang="ru-RU" sz="1100" dirty="0" smtClean="0"/>
          </a:p>
          <a:p>
            <a:pPr marL="285750" indent="-285750" latinLnBrk="1">
              <a:buFont typeface="Wingdings" panose="05000000000000000000" pitchFamily="2" charset="2"/>
              <a:buChar char="ü"/>
            </a:pPr>
            <a:r>
              <a:rPr lang="ru-RU" sz="2600" dirty="0"/>
              <a:t>п</a:t>
            </a:r>
            <a:r>
              <a:rPr lang="ru-RU" sz="2600" dirty="0" smtClean="0"/>
              <a:t>редоставлены надежные «опоры»: четкие и понятные инструкции, справочный материал;</a:t>
            </a:r>
          </a:p>
          <a:p>
            <a:pPr latinLnBrk="1"/>
            <a:endParaRPr lang="ru-RU" sz="2600" dirty="0" smtClean="0"/>
          </a:p>
          <a:p>
            <a:pPr marL="342900" indent="-342900" latinLnBrk="1">
              <a:buFont typeface="Wingdings" panose="05000000000000000000" pitchFamily="2" charset="2"/>
              <a:buChar char="ü"/>
            </a:pPr>
            <a:r>
              <a:rPr lang="ru-RU" sz="2600" dirty="0"/>
              <a:t>р</a:t>
            </a:r>
            <a:r>
              <a:rPr lang="ru-RU" sz="2600" dirty="0" smtClean="0"/>
              <a:t>абота в группе;</a:t>
            </a:r>
          </a:p>
          <a:p>
            <a:pPr latinLnBrk="1"/>
            <a:endParaRPr lang="ru-RU" sz="2600" dirty="0" smtClean="0"/>
          </a:p>
          <a:p>
            <a:pPr marL="342900" indent="-342900" latinLnBrk="1">
              <a:buFont typeface="Wingdings" panose="05000000000000000000" pitchFamily="2" charset="2"/>
              <a:buChar char="ü"/>
            </a:pPr>
            <a:r>
              <a:rPr lang="ru-RU" sz="2600" dirty="0"/>
              <a:t>к</a:t>
            </a:r>
            <a:r>
              <a:rPr lang="ru-RU" sz="2600" dirty="0" smtClean="0"/>
              <a:t>раткосрочность (1 – 2 урока);</a:t>
            </a:r>
          </a:p>
          <a:p>
            <a:pPr latinLnBrk="1"/>
            <a:endParaRPr lang="ru-RU" sz="2600" dirty="0" smtClean="0"/>
          </a:p>
          <a:p>
            <a:pPr marL="342900" indent="-342900" latinLnBrk="1">
              <a:buFont typeface="Wingdings" panose="05000000000000000000" pitchFamily="2" charset="2"/>
              <a:buChar char="ü"/>
            </a:pPr>
            <a:r>
              <a:rPr lang="ru-RU" sz="2600" dirty="0"/>
              <a:t>р</a:t>
            </a:r>
            <a:r>
              <a:rPr lang="ru-RU" sz="2600" dirty="0" smtClean="0"/>
              <a:t>езультат решения задачи – новый продукт,                  созданный конкретной группой учащихся</a:t>
            </a:r>
            <a:endParaRPr lang="ru-RU" sz="2600" dirty="0"/>
          </a:p>
          <a:p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779607154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041830" y="863715"/>
            <a:ext cx="666074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381000" indent="647700">
              <a:spcAft>
                <a:spcPts val="1370"/>
              </a:spcAft>
            </a:pPr>
            <a:r>
              <a:rPr lang="ru-RU" sz="3200" dirty="0">
                <a:solidFill>
                  <a:srgbClr val="000000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«Под проектной задачей в начальной школе понимается такая задача, в которой через определенный набор заданий целенаправленно стимулируется система детских действий, направленных на </a:t>
            </a:r>
            <a:r>
              <a:rPr lang="ru-RU" sz="3200" dirty="0" smtClean="0">
                <a:solidFill>
                  <a:srgbClr val="000000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получение ещё никогда не существовавшего в практике ребенка результата</a:t>
            </a:r>
            <a:endParaRPr lang="ru-RU" sz="32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</a:endParaRPr>
          </a:p>
        </p:txBody>
      </p:sp>
      <p:pic>
        <p:nvPicPr>
          <p:cNvPr id="3" name="Picture 13" descr="P:\Планы и отчеты ЦИПР\ОТДЕЛ РЕКЛАМЫ\Каталоги_11\НА ВЕРСТКУ\АРХИВ\!!!СТАНДАРТЫ\Standart_new_09.06\Начал шк\41-0116-01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510" y="98629"/>
            <a:ext cx="1800200" cy="279031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/>
        </p:spPr>
      </p:pic>
      <p:pic>
        <p:nvPicPr>
          <p:cNvPr id="4" name="Рисунок 3" descr="C:\Users\ntyurina\AppData\Local\Temp\FineReader10\media\image6.jpeg"/>
          <p:cNvPicPr/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716" y="2972516"/>
            <a:ext cx="2958446" cy="212028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5" name="Rectangle 1"/>
          <p:cNvSpPr txBox="1">
            <a:spLocks noChangeArrowheads="1"/>
          </p:cNvSpPr>
          <p:nvPr/>
        </p:nvSpPr>
        <p:spPr>
          <a:xfrm>
            <a:off x="0" y="-126395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2806700">
              <a:lnSpc>
                <a:spcPts val="3300"/>
              </a:lnSpc>
              <a:spcAft>
                <a:spcPts val="990"/>
              </a:spcAft>
            </a:pPr>
            <a:r>
              <a:rPr lang="ru-RU" sz="2400" dirty="0" smtClean="0">
                <a:solidFill>
                  <a:schemeClr val="bg1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А.Б. ВОРОНЦОВ</a:t>
            </a:r>
            <a:endParaRPr lang="ru-RU" sz="24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-70521" y="5274205"/>
            <a:ext cx="9285042" cy="13542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rgbClr val="000000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(«продукта»), и в ходе решения которой </a:t>
            </a:r>
            <a:r>
              <a:rPr lang="ru-RU" sz="3200" dirty="0" smtClean="0">
                <a:solidFill>
                  <a:srgbClr val="000000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происходит</a:t>
            </a:r>
            <a:endParaRPr lang="en-US" sz="3200" dirty="0" smtClean="0">
              <a:solidFill>
                <a:srgbClr val="000000"/>
              </a:solidFill>
              <a:latin typeface="Times New Roman" panose="02020603050405020304" pitchFamily="18" charset="0"/>
              <a:ea typeface="Tahoma" panose="020B0604030504040204" pitchFamily="34" charset="0"/>
              <a:cs typeface="Times New Roman" panose="02020603050405020304" pitchFamily="18" charset="0"/>
            </a:endParaRPr>
          </a:p>
          <a:p>
            <a:r>
              <a:rPr lang="ru-RU" sz="3200" dirty="0" smtClean="0">
                <a:solidFill>
                  <a:srgbClr val="000000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3200" dirty="0">
                <a:solidFill>
                  <a:srgbClr val="000000"/>
                </a:solidFill>
                <a:latin typeface="Times New Roman" panose="02020603050405020304" pitchFamily="18" charset="0"/>
                <a:ea typeface="Tahoma" panose="020B0604030504040204" pitchFamily="34" charset="0"/>
                <a:cs typeface="Times New Roman" panose="02020603050405020304" pitchFamily="18" charset="0"/>
              </a:rPr>
              <a:t>качественное изменение группы детей»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7657256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2"/>
          <p:cNvSpPr txBox="1">
            <a:spLocks/>
          </p:cNvSpPr>
          <p:nvPr/>
        </p:nvSpPr>
        <p:spPr bwMode="auto">
          <a:xfrm>
            <a:off x="296525" y="1043735"/>
            <a:ext cx="8798265" cy="5490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64" tIns="45632" rIns="91264" bIns="45632" numCol="1" anchor="t" anchorCtr="0" compatLnSpc="1">
            <a:prstTxWarp prst="textNoShape">
              <a:avLst/>
            </a:prstTxWarp>
            <a:normAutofit/>
          </a:bodyPr>
          <a:lstStyle>
            <a:lvl1pPr marL="342657" indent="-342657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426" indent="-2855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193" indent="-228439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071" indent="-228439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948" indent="-228439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2826" indent="-228439" algn="l" defTabSz="9137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702" indent="-228439" algn="l" defTabSz="9137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580" indent="-228439" algn="l" defTabSz="9137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458" indent="-228439" algn="l" defTabSz="9137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Выберите организатора обсуждения.</a:t>
            </a:r>
            <a:endParaRPr lang="ru-RU" dirty="0"/>
          </a:p>
          <a:p>
            <a:pPr lvl="0"/>
            <a:r>
              <a:rPr lang="ru-RU" dirty="0" smtClean="0"/>
              <a:t>Каждый может высказать свою идею решения.</a:t>
            </a:r>
            <a:endParaRPr lang="ru-RU" dirty="0"/>
          </a:p>
          <a:p>
            <a:pPr lvl="0"/>
            <a:r>
              <a:rPr lang="ru-RU" dirty="0" smtClean="0"/>
              <a:t>Любая идея обсуждается в группе.</a:t>
            </a:r>
            <a:endParaRPr lang="ru-RU" dirty="0"/>
          </a:p>
          <a:p>
            <a:r>
              <a:rPr lang="ru-RU" dirty="0" smtClean="0"/>
              <a:t>Один говорит, а остальные слушают.</a:t>
            </a:r>
            <a:endParaRPr lang="ru-RU" dirty="0"/>
          </a:p>
          <a:p>
            <a:pPr lvl="0"/>
            <a:r>
              <a:rPr lang="ru-RU" dirty="0" smtClean="0"/>
              <a:t>В группе согласуется общее решение.</a:t>
            </a:r>
            <a:endParaRPr lang="ru-RU" dirty="0"/>
          </a:p>
          <a:p>
            <a:pPr lvl="0"/>
            <a:r>
              <a:rPr lang="ru-RU" dirty="0" smtClean="0"/>
              <a:t>Представитель группы защищает согласованное решение перед классом.</a:t>
            </a:r>
            <a:endParaRPr lang="ru-RU" dirty="0"/>
          </a:p>
        </p:txBody>
      </p:sp>
      <p:sp>
        <p:nvSpPr>
          <p:cNvPr id="3" name="Прямоугольник 1"/>
          <p:cNvSpPr>
            <a:spLocks noChangeArrowheads="1"/>
          </p:cNvSpPr>
          <p:nvPr/>
        </p:nvSpPr>
        <p:spPr bwMode="auto">
          <a:xfrm>
            <a:off x="148263" y="-81390"/>
            <a:ext cx="9094788" cy="1569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28" tIns="45664" rIns="91328" bIns="45664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ПРАВИЛА РАБОТЫ В ГРУППЕ:</a:t>
            </a:r>
            <a:endParaRPr lang="ru-RU" dirty="0">
              <a:solidFill>
                <a:schemeClr val="bg1"/>
              </a:solidFill>
            </a:endParaRPr>
          </a:p>
          <a:p>
            <a:pPr algn="ctr"/>
            <a:endParaRPr lang="ru-RU" sz="2400" dirty="0">
              <a:solidFill>
                <a:schemeClr val="bg1"/>
              </a:solidFill>
            </a:endParaRPr>
          </a:p>
          <a:p>
            <a:pPr algn="ctr"/>
            <a:r>
              <a:rPr lang="ru-RU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</a:t>
            </a:r>
            <a:endParaRPr lang="ru-RU" sz="2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2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919288" y="242093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930000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 txBox="1">
            <a:spLocks noChangeArrowheads="1"/>
          </p:cNvSpPr>
          <p:nvPr/>
        </p:nvSpPr>
        <p:spPr bwMode="auto">
          <a:xfrm>
            <a:off x="139007" y="3969060"/>
            <a:ext cx="9027494" cy="551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64" tIns="45632" rIns="91264" bIns="45632" numCol="1" anchor="t" anchorCtr="0" compatLnSpc="1">
            <a:prstTxWarp prst="textNoShape">
              <a:avLst/>
            </a:prstTxWarp>
          </a:bodyPr>
          <a:lstStyle>
            <a:lvl1pPr marL="342234" indent="-34223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509" indent="-285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0784" indent="-22815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7097" indent="-22815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3412" indent="-22815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09723" indent="-228156" algn="l" defTabSz="9126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6037" indent="-228156" algn="l" defTabSz="9126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2352" indent="-228156" algn="l" defTabSz="9126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8664" indent="-228156" algn="l" defTabSz="9126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1200"/>
              </a:spcBef>
              <a:buNone/>
            </a:pPr>
            <a:r>
              <a:rPr lang="ru-RU" altLang="ru-RU" sz="3600" dirty="0" smtClean="0">
                <a:solidFill>
                  <a:srgbClr val="000000"/>
                </a:solidFill>
                <a:latin typeface="Arial" pitchFamily="34" charset="0"/>
              </a:rPr>
              <a:t>«То, что дети могут сделать вместе сегодня, завтра каждый из них сможет сделать самостоятельно»</a:t>
            </a:r>
          </a:p>
          <a:p>
            <a:pPr marL="0" indent="0" algn="r">
              <a:lnSpc>
                <a:spcPct val="90000"/>
              </a:lnSpc>
              <a:spcBef>
                <a:spcPts val="1200"/>
              </a:spcBef>
              <a:buNone/>
            </a:pPr>
            <a:r>
              <a:rPr lang="ru-RU" altLang="ru-RU" sz="3600" dirty="0" smtClean="0">
                <a:solidFill>
                  <a:srgbClr val="000000"/>
                </a:solidFill>
                <a:latin typeface="Arial" pitchFamily="34" charset="0"/>
              </a:rPr>
              <a:t>Л.С. Выготский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554" y="278650"/>
            <a:ext cx="2745305" cy="355872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2468968228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 txBox="1">
            <a:spLocks noChangeArrowheads="1"/>
          </p:cNvSpPr>
          <p:nvPr/>
        </p:nvSpPr>
        <p:spPr>
          <a:xfrm>
            <a:off x="0" y="-171400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УКТУРА ПРОЕКТНОЙ ЗАДАЧИ:</a:t>
            </a:r>
            <a:endParaRPr lang="ru-RU" sz="24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256497" y="2780007"/>
            <a:ext cx="2409280" cy="144016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348963" y="2756661"/>
            <a:ext cx="23328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облемная ситуация (актуальная). Постановка задачи (тема +цель)</a:t>
            </a:r>
            <a:endParaRPr lang="ru-RU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635525" y="4242543"/>
            <a:ext cx="1845205" cy="8724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624920" y="2913099"/>
            <a:ext cx="1845205" cy="8724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581891" y="1583655"/>
            <a:ext cx="1845205" cy="87248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408690" y="2846727"/>
            <a:ext cx="2295255" cy="144016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6501784" y="3422332"/>
            <a:ext cx="21141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Итоговое задание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3941931" y="1762235"/>
            <a:ext cx="1170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Задание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3941931" y="3145659"/>
            <a:ext cx="1170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Задание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3941931" y="4584737"/>
            <a:ext cx="1170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Задание</a:t>
            </a:r>
            <a:endParaRPr lang="ru-RU" dirty="0"/>
          </a:p>
        </p:txBody>
      </p:sp>
      <p:cxnSp>
        <p:nvCxnSpPr>
          <p:cNvPr id="14" name="Прямая со стрелкой 13"/>
          <p:cNvCxnSpPr/>
          <p:nvPr/>
        </p:nvCxnSpPr>
        <p:spPr>
          <a:xfrm flipH="1">
            <a:off x="2642811" y="2241388"/>
            <a:ext cx="947056" cy="723558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>
            <a:endCxn id="6" idx="1"/>
          </p:cNvCxnSpPr>
          <p:nvPr/>
        </p:nvCxnSpPr>
        <p:spPr>
          <a:xfrm flipV="1">
            <a:off x="2665777" y="3349339"/>
            <a:ext cx="959143" cy="26874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2672455" y="3808724"/>
            <a:ext cx="963070" cy="644341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>
            <a:off x="5419121" y="1979779"/>
            <a:ext cx="1134230" cy="866948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>
            <a:stCxn id="5" idx="3"/>
          </p:cNvCxnSpPr>
          <p:nvPr/>
        </p:nvCxnSpPr>
        <p:spPr>
          <a:xfrm flipV="1">
            <a:off x="5480730" y="4160996"/>
            <a:ext cx="981592" cy="517787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stCxn id="6" idx="3"/>
          </p:cNvCxnSpPr>
          <p:nvPr/>
        </p:nvCxnSpPr>
        <p:spPr>
          <a:xfrm>
            <a:off x="5470125" y="3349339"/>
            <a:ext cx="959143" cy="91156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V="1">
            <a:off x="2605795" y="1780691"/>
            <a:ext cx="976096" cy="1076859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2648653" y="3943631"/>
            <a:ext cx="992150" cy="887863"/>
          </a:xfrm>
          <a:prstGeom prst="straightConnector1">
            <a:avLst/>
          </a:prstGeom>
          <a:ln w="317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 flipH="1" flipV="1">
            <a:off x="5464776" y="3180087"/>
            <a:ext cx="943915" cy="11201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 flipH="1" flipV="1">
            <a:off x="5427098" y="2313139"/>
            <a:ext cx="1032596" cy="607356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/>
          <p:nvPr/>
        </p:nvCxnSpPr>
        <p:spPr>
          <a:xfrm flipH="1">
            <a:off x="5433638" y="3832391"/>
            <a:ext cx="976293" cy="719416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3279699" y="1223755"/>
            <a:ext cx="24945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ИСТЕМА ЗАДАНИЙ</a:t>
            </a:r>
            <a:endParaRPr lang="ru-RU" dirty="0"/>
          </a:p>
        </p:txBody>
      </p:sp>
      <p:sp>
        <p:nvSpPr>
          <p:cNvPr id="33" name="TextBox 32"/>
          <p:cNvSpPr txBox="1"/>
          <p:nvPr/>
        </p:nvSpPr>
        <p:spPr>
          <a:xfrm flipH="1">
            <a:off x="263175" y="5507324"/>
            <a:ext cx="2409280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МОТИВАЦИОННЫЙ      </a:t>
            </a:r>
            <a:endParaRPr lang="ru-RU" dirty="0"/>
          </a:p>
        </p:txBody>
      </p:sp>
      <p:sp>
        <p:nvSpPr>
          <p:cNvPr id="35" name="TextBox 34"/>
          <p:cNvSpPr txBox="1"/>
          <p:nvPr/>
        </p:nvSpPr>
        <p:spPr>
          <a:xfrm flipH="1">
            <a:off x="3620354" y="5499230"/>
            <a:ext cx="4995535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</a:lstStyle>
          <a:p>
            <a:pPr algn="ctr"/>
            <a:r>
              <a:rPr lang="ru-RU" dirty="0"/>
              <a:t>ДЕЯТЕЛЬНОСТНЫЙ       </a:t>
            </a:r>
          </a:p>
        </p:txBody>
      </p:sp>
      <p:sp>
        <p:nvSpPr>
          <p:cNvPr id="37" name="TextBox 36"/>
          <p:cNvSpPr txBox="1"/>
          <p:nvPr/>
        </p:nvSpPr>
        <p:spPr>
          <a:xfrm flipH="1">
            <a:off x="5022050" y="6080848"/>
            <a:ext cx="4050450" cy="36933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/>
          </a:lstStyle>
          <a:p>
            <a:r>
              <a:rPr lang="ru-RU" dirty="0"/>
              <a:t>      РЕФЛЕКСИВНО-ОЦЕНОЧНЫЙ</a:t>
            </a:r>
          </a:p>
        </p:txBody>
      </p:sp>
      <p:cxnSp>
        <p:nvCxnSpPr>
          <p:cNvPr id="39" name="Прямая со стрелкой 38"/>
          <p:cNvCxnSpPr>
            <a:stCxn id="33" idx="1"/>
            <a:endCxn id="35" idx="3"/>
          </p:cNvCxnSpPr>
          <p:nvPr/>
        </p:nvCxnSpPr>
        <p:spPr>
          <a:xfrm flipV="1">
            <a:off x="2672455" y="5683896"/>
            <a:ext cx="947899" cy="8094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>
            <a:stCxn id="35" idx="2"/>
          </p:cNvCxnSpPr>
          <p:nvPr/>
        </p:nvCxnSpPr>
        <p:spPr>
          <a:xfrm flipH="1">
            <a:off x="6102171" y="5868562"/>
            <a:ext cx="15950" cy="218617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/>
          <p:cNvCxnSpPr/>
          <p:nvPr/>
        </p:nvCxnSpPr>
        <p:spPr>
          <a:xfrm flipH="1">
            <a:off x="2635659" y="3566808"/>
            <a:ext cx="1006385" cy="51321"/>
          </a:xfrm>
          <a:prstGeom prst="straightConnector1">
            <a:avLst/>
          </a:prstGeom>
          <a:ln w="317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8794018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840" y="595344"/>
            <a:ext cx="3606060" cy="441048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3" name="Picture"/>
          <p:cNvPicPr/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56765" y="1133745"/>
            <a:ext cx="3150350" cy="549060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2" name="Рисунок 1" descr="image54"/>
          <p:cNvPicPr/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46750" y="1133744"/>
            <a:ext cx="4070755" cy="55009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5" name="Rectangle 1"/>
          <p:cNvSpPr txBox="1">
            <a:spLocks noChangeArrowheads="1"/>
          </p:cNvSpPr>
          <p:nvPr/>
        </p:nvSpPr>
        <p:spPr>
          <a:xfrm>
            <a:off x="-26495" y="-92263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СТРОЕННОСТЬ ПРОЕКТНЫХ ЗАДАЧ</a:t>
            </a:r>
            <a:endParaRPr lang="ru-RU" sz="24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>
            <a:spLocks noChangeArrowheads="1"/>
          </p:cNvSpPr>
          <p:nvPr/>
        </p:nvSpPr>
        <p:spPr bwMode="auto">
          <a:xfrm>
            <a:off x="65840" y="5317423"/>
            <a:ext cx="6224874" cy="1015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08" tIns="45704" rIns="91408" bIns="45704">
            <a:spAutoFit/>
          </a:bodyPr>
          <a:lstStyle/>
          <a:p>
            <a:r>
              <a:rPr lang="ru-RU" sz="2000" dirty="0" smtClean="0">
                <a:cs typeface="Times New Roman" pitchFamily="18" charset="0"/>
              </a:rPr>
              <a:t>«Русский язык», </a:t>
            </a:r>
          </a:p>
          <a:p>
            <a:r>
              <a:rPr lang="ru-RU" sz="2000" dirty="0" smtClean="0">
                <a:cs typeface="Times New Roman" pitchFamily="18" charset="0"/>
              </a:rPr>
              <a:t>В.П. </a:t>
            </a:r>
            <a:r>
              <a:rPr lang="ru-RU" sz="2000" dirty="0" err="1" smtClean="0">
                <a:cs typeface="Times New Roman" pitchFamily="18" charset="0"/>
              </a:rPr>
              <a:t>Канакина</a:t>
            </a:r>
            <a:r>
              <a:rPr lang="ru-RU" sz="2000" dirty="0" smtClean="0">
                <a:cs typeface="Times New Roman" pitchFamily="18" charset="0"/>
              </a:rPr>
              <a:t>, </a:t>
            </a:r>
          </a:p>
          <a:p>
            <a:r>
              <a:rPr lang="ru-RU" sz="2000" dirty="0">
                <a:cs typeface="Times New Roman" pitchFamily="18" charset="0"/>
              </a:rPr>
              <a:t>2</a:t>
            </a:r>
            <a:r>
              <a:rPr lang="ru-RU" sz="2000" dirty="0" smtClean="0">
                <a:cs typeface="Times New Roman" pitchFamily="18" charset="0"/>
              </a:rPr>
              <a:t> </a:t>
            </a:r>
            <a:r>
              <a:rPr lang="ru-RU" sz="2000" dirty="0" err="1" smtClean="0">
                <a:cs typeface="Times New Roman" pitchFamily="18" charset="0"/>
              </a:rPr>
              <a:t>кл</a:t>
            </a:r>
            <a:r>
              <a:rPr lang="ru-RU" sz="2000" dirty="0" smtClean="0">
                <a:cs typeface="Times New Roman" pitchFamily="18" charset="0"/>
              </a:rPr>
              <a:t>. </a:t>
            </a:r>
            <a:r>
              <a:rPr lang="ru-RU" sz="2000" dirty="0">
                <a:cs typeface="Times New Roman" pitchFamily="18" charset="0"/>
              </a:rPr>
              <a:t>1 ч.</a:t>
            </a:r>
          </a:p>
        </p:txBody>
      </p:sp>
    </p:spTree>
    <p:extLst>
      <p:ext uri="{BB962C8B-B14F-4D97-AF65-F5344CB8AC3E}">
        <p14:creationId xmlns:p14="http://schemas.microsoft.com/office/powerpoint/2010/main" val="1447781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 txBox="1">
            <a:spLocks noChangeArrowheads="1"/>
          </p:cNvSpPr>
          <p:nvPr/>
        </p:nvSpPr>
        <p:spPr>
          <a:xfrm>
            <a:off x="-92838" y="-126395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ЕННОСТИ ПРЕДСТАВЛЕНИЯ РЕЗУЛЬТАТА</a:t>
            </a:r>
            <a:endParaRPr lang="ru-RU" sz="24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Рисунок 5" descr="C:\Users\ntyurina\AppData\Local\Temp\FineReader10\media\image26.jpeg"/>
          <p:cNvPicPr/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1510" y="1043735"/>
            <a:ext cx="5400600" cy="40054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5" name="Рисунок 4" descr="C:\Users\ntyurina\AppData\Local\Temp\FineReader10\media\image26.jpeg"/>
          <p:cNvPicPr/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69974" y="2753925"/>
            <a:ext cx="4174030" cy="40054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1025109337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C:\Users\ntyurina\AppData\Local\Temp\FineReader10\media\image24.jpeg"/>
          <p:cNvPicPr/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599203"/>
            <a:ext cx="4038600" cy="49229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2" name="Rectangle 1"/>
          <p:cNvSpPr txBox="1">
            <a:spLocks noChangeArrowheads="1"/>
          </p:cNvSpPr>
          <p:nvPr/>
        </p:nvSpPr>
        <p:spPr>
          <a:xfrm>
            <a:off x="-116505" y="-126395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ОЕ ВНИМАНИЕ РЕФЛЕКСИВНОМУ ЭТАПУ</a:t>
            </a:r>
            <a:endParaRPr lang="ru-RU" sz="24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Рисунок 3" descr="C:\Users\ntyurina\AppData\Local\Temp\FineReader10\media\image7.jpeg"/>
          <p:cNvPicPr/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87656" y="2978950"/>
            <a:ext cx="6039839" cy="38790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745401625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15349"/>
              </p:ext>
            </p:extLst>
          </p:nvPr>
        </p:nvGraphicFramePr>
        <p:xfrm>
          <a:off x="181909" y="1043735"/>
          <a:ext cx="8730969" cy="52655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40409">
                  <a:extLst>
                    <a:ext uri="{9D8B030D-6E8A-4147-A177-3AD203B41FA5}">
                      <a16:colId xmlns:a16="http://schemas.microsoft.com/office/drawing/2014/main" xmlns="" val="3884724347"/>
                    </a:ext>
                  </a:extLst>
                </a:gridCol>
                <a:gridCol w="5034896">
                  <a:extLst>
                    <a:ext uri="{9D8B030D-6E8A-4147-A177-3AD203B41FA5}">
                      <a16:colId xmlns:a16="http://schemas.microsoft.com/office/drawing/2014/main" xmlns="" val="3316970144"/>
                    </a:ext>
                  </a:extLst>
                </a:gridCol>
                <a:gridCol w="1555664">
                  <a:extLst>
                    <a:ext uri="{9D8B030D-6E8A-4147-A177-3AD203B41FA5}">
                      <a16:colId xmlns:a16="http://schemas.microsoft.com/office/drawing/2014/main" xmlns="" val="1636893778"/>
                    </a:ext>
                  </a:extLst>
                </a:gridCol>
              </a:tblGrid>
              <a:tr h="505037">
                <a:tc gridSpan="3">
                  <a:txBody>
                    <a:bodyPr/>
                    <a:lstStyle/>
                    <a:p>
                      <a:pPr marL="1651000" algn="l">
                        <a:spcAft>
                          <a:spcPts val="0"/>
                        </a:spcAft>
                      </a:pPr>
                      <a:r>
                        <a:rPr lang="ru-RU" sz="2400" u="none" strike="noStrike" spc="0" dirty="0" smtClean="0">
                          <a:effectLst/>
                        </a:rPr>
                        <a:t>                       НАША </a:t>
                      </a:r>
                      <a:r>
                        <a:rPr lang="ru-RU" sz="2400" u="none" strike="noStrike" spc="0" dirty="0">
                          <a:effectLst/>
                        </a:rPr>
                        <a:t>ГРУППА</a:t>
                      </a:r>
                      <a:endParaRPr lang="ru-RU" sz="2400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65569335"/>
                  </a:ext>
                </a:extLst>
              </a:tr>
              <a:tr h="656165">
                <a:tc>
                  <a:txBody>
                    <a:bodyPr/>
                    <a:lstStyle/>
                    <a:p>
                      <a:pPr marL="114300">
                        <a:spcAft>
                          <a:spcPts val="0"/>
                        </a:spcAft>
                      </a:pPr>
                      <a:r>
                        <a:rPr lang="ru-RU" sz="2400" u="none" strike="noStrike" spc="0">
                          <a:effectLst/>
                        </a:rPr>
                        <a:t>Наши имена</a:t>
                      </a:r>
                      <a:endParaRPr lang="ru-RU" sz="24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50"/>
                        </a:lnSpc>
                        <a:spcAft>
                          <a:spcPts val="0"/>
                        </a:spcAft>
                      </a:pPr>
                      <a:endParaRPr lang="ru-RU" sz="2400" u="none" strike="noStrike" spc="0" dirty="0" smtClean="0">
                        <a:effectLst/>
                      </a:endParaRPr>
                    </a:p>
                    <a:p>
                      <a:pPr algn="ctr">
                        <a:lnSpc>
                          <a:spcPts val="1250"/>
                        </a:lnSpc>
                        <a:spcAft>
                          <a:spcPts val="0"/>
                        </a:spcAft>
                      </a:pPr>
                      <a:r>
                        <a:rPr lang="ru-RU" sz="2400" u="none" strike="noStrike" spc="0" dirty="0" smtClean="0">
                          <a:solidFill>
                            <a:schemeClr val="bg1"/>
                          </a:solidFill>
                          <a:effectLst/>
                        </a:rPr>
                        <a:t>Выполненные </a:t>
                      </a:r>
                      <a:r>
                        <a:rPr lang="ru-RU" sz="2400" u="none" strike="noStrike" spc="0" dirty="0">
                          <a:solidFill>
                            <a:schemeClr val="bg1"/>
                          </a:solidFill>
                          <a:effectLst/>
                        </a:rPr>
                        <a:t>действия, поручения</a:t>
                      </a:r>
                      <a:endParaRPr lang="ru-RU" sz="24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 </a:t>
                      </a:r>
                      <a:r>
                        <a:rPr lang="ru-RU" sz="2400" dirty="0" smtClean="0">
                          <a:effectLst/>
                        </a:rPr>
                        <a:t>Оценка</a:t>
                      </a:r>
                      <a:endParaRPr lang="ru-RU" sz="2400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extLst>
                  <a:ext uri="{0D108BD9-81ED-4DB2-BD59-A6C34878D82A}">
                    <a16:rowId xmlns:a16="http://schemas.microsoft.com/office/drawing/2014/main" xmlns="" val="3661455328"/>
                  </a:ext>
                </a:extLst>
              </a:tr>
              <a:tr h="7527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>
                          <a:effectLst/>
                        </a:rPr>
                        <a:t> </a:t>
                      </a:r>
                      <a:endParaRPr lang="ru-RU" sz="24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marL="76200">
                        <a:spcAft>
                          <a:spcPts val="0"/>
                        </a:spcAft>
                      </a:pPr>
                      <a:r>
                        <a:rPr lang="ru-RU" sz="2400" u="none" strike="noStrike" spc="0" dirty="0">
                          <a:effectLst/>
                        </a:rPr>
                        <a:t>руководство </a:t>
                      </a:r>
                      <a:r>
                        <a:rPr lang="ru-RU" sz="2400" u="none" strike="noStrike" spc="0" dirty="0" smtClean="0">
                          <a:effectLst/>
                        </a:rPr>
                        <a:t>работой </a:t>
                      </a:r>
                      <a:r>
                        <a:rPr lang="ru-RU" sz="2400" u="none" strike="noStrike" spc="0" dirty="0">
                          <a:effectLst/>
                        </a:rPr>
                        <a:t>группы</a:t>
                      </a:r>
                      <a:endParaRPr lang="ru-RU" sz="2400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>
                          <a:effectLst/>
                        </a:rPr>
                        <a:t> </a:t>
                      </a:r>
                      <a:endParaRPr lang="ru-RU" sz="24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extLst>
                  <a:ext uri="{0D108BD9-81ED-4DB2-BD59-A6C34878D82A}">
                    <a16:rowId xmlns:a16="http://schemas.microsoft.com/office/drawing/2014/main" xmlns="" val="1446018329"/>
                  </a:ext>
                </a:extLst>
              </a:tr>
              <a:tr h="7575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>
                          <a:effectLst/>
                        </a:rPr>
                        <a:t> </a:t>
                      </a:r>
                      <a:endParaRPr lang="ru-RU" sz="24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marL="76200">
                        <a:spcAft>
                          <a:spcPts val="0"/>
                        </a:spcAft>
                      </a:pPr>
                      <a:r>
                        <a:rPr lang="ru-RU" sz="2400" u="none" strike="noStrike" spc="0" dirty="0">
                          <a:effectLst/>
                        </a:rPr>
                        <a:t>выполнение </a:t>
                      </a:r>
                      <a:r>
                        <a:rPr lang="ru-RU" sz="2400" u="none" strike="noStrike" spc="0" dirty="0" smtClean="0">
                          <a:effectLst/>
                        </a:rPr>
                        <a:t>решения (расчётов)</a:t>
                      </a:r>
                      <a:endParaRPr lang="ru-RU" sz="2400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>
                          <a:effectLst/>
                        </a:rPr>
                        <a:t> </a:t>
                      </a:r>
                      <a:endParaRPr lang="ru-RU" sz="24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extLst>
                  <a:ext uri="{0D108BD9-81ED-4DB2-BD59-A6C34878D82A}">
                    <a16:rowId xmlns:a16="http://schemas.microsoft.com/office/drawing/2014/main" xmlns="" val="2786954567"/>
                  </a:ext>
                </a:extLst>
              </a:tr>
              <a:tr h="105120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>
                          <a:effectLst/>
                        </a:rPr>
                        <a:t> </a:t>
                      </a:r>
                      <a:endParaRPr lang="ru-RU" sz="24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marL="76200">
                        <a:lnSpc>
                          <a:spcPts val="1250"/>
                        </a:lnSpc>
                        <a:spcAft>
                          <a:spcPts val="0"/>
                        </a:spcAft>
                      </a:pPr>
                      <a:endParaRPr lang="ru-RU" sz="2400" u="none" strike="noStrike" spc="0" dirty="0" smtClean="0">
                        <a:effectLst/>
                      </a:endParaRPr>
                    </a:p>
                    <a:p>
                      <a:pPr marL="76200">
                        <a:lnSpc>
                          <a:spcPts val="1250"/>
                        </a:lnSpc>
                        <a:spcAft>
                          <a:spcPts val="0"/>
                        </a:spcAft>
                      </a:pPr>
                      <a:endParaRPr lang="ru-RU" sz="2400" u="none" strike="noStrike" spc="0" dirty="0" smtClean="0">
                        <a:effectLst/>
                      </a:endParaRPr>
                    </a:p>
                    <a:p>
                      <a:pPr marL="76200">
                        <a:lnSpc>
                          <a:spcPts val="1250"/>
                        </a:lnSpc>
                        <a:spcAft>
                          <a:spcPts val="0"/>
                        </a:spcAft>
                      </a:pPr>
                      <a:r>
                        <a:rPr lang="ru-RU" sz="2400" u="none" strike="noStrike" spc="0" dirty="0" smtClean="0">
                          <a:effectLst/>
                        </a:rPr>
                        <a:t>красивое </a:t>
                      </a:r>
                      <a:r>
                        <a:rPr lang="ru-RU" sz="2400" u="none" strike="noStrike" spc="0" dirty="0">
                          <a:effectLst/>
                        </a:rPr>
                        <a:t>и аккуратное оформление </a:t>
                      </a:r>
                      <a:endParaRPr lang="ru-RU" sz="2400" u="none" strike="noStrike" spc="0" dirty="0" smtClean="0">
                        <a:effectLst/>
                      </a:endParaRPr>
                    </a:p>
                    <a:p>
                      <a:pPr marL="76200">
                        <a:lnSpc>
                          <a:spcPts val="1250"/>
                        </a:lnSpc>
                        <a:spcAft>
                          <a:spcPts val="0"/>
                        </a:spcAft>
                      </a:pPr>
                      <a:endParaRPr lang="ru-RU" sz="2400" u="none" strike="noStrike" spc="0" dirty="0" smtClean="0">
                        <a:effectLst/>
                      </a:endParaRPr>
                    </a:p>
                    <a:p>
                      <a:pPr marL="76200">
                        <a:lnSpc>
                          <a:spcPts val="1250"/>
                        </a:lnSpc>
                        <a:spcAft>
                          <a:spcPts val="0"/>
                        </a:spcAft>
                      </a:pPr>
                      <a:r>
                        <a:rPr lang="ru-RU" sz="2400" u="none" strike="noStrike" spc="0" dirty="0" smtClean="0">
                          <a:effectLst/>
                        </a:rPr>
                        <a:t>записей</a:t>
                      </a:r>
                      <a:endParaRPr lang="ru-RU" sz="2400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>
                          <a:effectLst/>
                        </a:rPr>
                        <a:t> </a:t>
                      </a:r>
                      <a:endParaRPr lang="ru-RU" sz="24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extLst>
                  <a:ext uri="{0D108BD9-81ED-4DB2-BD59-A6C34878D82A}">
                    <a16:rowId xmlns:a16="http://schemas.microsoft.com/office/drawing/2014/main" xmlns="" val="1660934325"/>
                  </a:ext>
                </a:extLst>
              </a:tr>
              <a:tr h="7575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>
                          <a:effectLst/>
                        </a:rPr>
                        <a:t> </a:t>
                      </a:r>
                      <a:endParaRPr lang="ru-RU" sz="24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marL="76200">
                        <a:spcAft>
                          <a:spcPts val="0"/>
                        </a:spcAft>
                      </a:pPr>
                      <a:r>
                        <a:rPr lang="ru-RU" sz="2400" u="none" strike="noStrike" spc="0">
                          <a:effectLst/>
                        </a:rPr>
                        <a:t>придумывание идей</a:t>
                      </a:r>
                      <a:endParaRPr lang="ru-RU" sz="24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>
                          <a:effectLst/>
                        </a:rPr>
                        <a:t> </a:t>
                      </a:r>
                      <a:endParaRPr lang="ru-RU" sz="24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extLst>
                  <a:ext uri="{0D108BD9-81ED-4DB2-BD59-A6C34878D82A}">
                    <a16:rowId xmlns:a16="http://schemas.microsoft.com/office/drawing/2014/main" xmlns="" val="2941930230"/>
                  </a:ext>
                </a:extLst>
              </a:tr>
              <a:tr h="7852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>
                          <a:effectLst/>
                        </a:rPr>
                        <a:t> </a:t>
                      </a:r>
                      <a:endParaRPr lang="ru-RU" sz="240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 marL="76200">
                        <a:spcAft>
                          <a:spcPts val="0"/>
                        </a:spcAft>
                      </a:pPr>
                      <a:r>
                        <a:rPr lang="ru-RU" sz="2400" u="none" strike="noStrike" spc="0" dirty="0">
                          <a:effectLst/>
                        </a:rPr>
                        <a:t>выступление с </a:t>
                      </a:r>
                      <a:r>
                        <a:rPr lang="ru-RU" sz="2400" u="none" strike="noStrike" spc="0" dirty="0" smtClean="0">
                          <a:effectLst/>
                        </a:rPr>
                        <a:t>отчётом</a:t>
                      </a:r>
                      <a:endParaRPr lang="ru-RU" sz="2400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 </a:t>
                      </a:r>
                      <a:endParaRPr lang="ru-RU" sz="2400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6350" marR="6350" marT="0" marB="0"/>
                </a:tc>
                <a:extLst>
                  <a:ext uri="{0D108BD9-81ED-4DB2-BD59-A6C34878D82A}">
                    <a16:rowId xmlns:a16="http://schemas.microsoft.com/office/drawing/2014/main" xmlns="" val="123362551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>
            <a:spLocks noChangeArrowheads="1"/>
          </p:cNvSpPr>
          <p:nvPr/>
        </p:nvSpPr>
        <p:spPr bwMode="auto">
          <a:xfrm>
            <a:off x="0" y="-36385"/>
            <a:ext cx="9094788" cy="1569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28" tIns="45664" rIns="91328" bIns="45664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ПОДВЕДЕНИЕ ИТОГОВ. ОЦЕНКА. РЕФЛЕКСИЯ</a:t>
            </a:r>
            <a:endParaRPr lang="ru-RU" dirty="0" smtClean="0">
              <a:solidFill>
                <a:schemeClr val="bg1"/>
              </a:solidFill>
            </a:endParaRPr>
          </a:p>
          <a:p>
            <a:pPr algn="ctr"/>
            <a:endParaRPr lang="ru-RU" sz="2400" dirty="0">
              <a:solidFill>
                <a:schemeClr val="bg1"/>
              </a:solidFill>
            </a:endParaRPr>
          </a:p>
          <a:p>
            <a:pPr algn="ctr"/>
            <a:r>
              <a:rPr lang="ru-RU" sz="2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</a:t>
            </a:r>
            <a:endParaRPr lang="ru-RU" sz="2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2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345145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 txBox="1">
            <a:spLocks noChangeArrowheads="1"/>
          </p:cNvSpPr>
          <p:nvPr/>
        </p:nvSpPr>
        <p:spPr bwMode="auto">
          <a:xfrm>
            <a:off x="161510" y="3924055"/>
            <a:ext cx="8892480" cy="551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64" tIns="45632" rIns="91264" bIns="45632" numCol="1" anchor="t" anchorCtr="0" compatLnSpc="1">
            <a:prstTxWarp prst="textNoShape">
              <a:avLst/>
            </a:prstTxWarp>
          </a:bodyPr>
          <a:lstStyle>
            <a:lvl1pPr marL="342234" indent="-34223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1509" indent="-285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0784" indent="-22815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7097" indent="-22815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3412" indent="-228156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09723" indent="-228156" algn="l" defTabSz="9126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6037" indent="-228156" algn="l" defTabSz="9126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2352" indent="-228156" algn="l" defTabSz="9126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8664" indent="-228156" algn="l" defTabSz="91262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1200"/>
              </a:spcBef>
              <a:buNone/>
            </a:pPr>
            <a:r>
              <a:rPr lang="ru-RU" altLang="ru-RU" sz="3600" dirty="0" smtClean="0">
                <a:solidFill>
                  <a:srgbClr val="000000"/>
                </a:solidFill>
                <a:latin typeface="Arial" pitchFamily="34" charset="0"/>
              </a:rPr>
              <a:t>«Неграмотным человеком завтрашнего дня будет не тот, кто не умеет читать, а тот, кто не научился учиться»</a:t>
            </a:r>
          </a:p>
          <a:p>
            <a:pPr marL="0" indent="0" algn="r">
              <a:lnSpc>
                <a:spcPct val="90000"/>
              </a:lnSpc>
              <a:spcBef>
                <a:spcPts val="1200"/>
              </a:spcBef>
              <a:buNone/>
            </a:pPr>
            <a:r>
              <a:rPr lang="ru-RU" altLang="ru-RU" sz="3600" dirty="0" err="1" smtClean="0">
                <a:solidFill>
                  <a:srgbClr val="000000"/>
                </a:solidFill>
                <a:latin typeface="Arial" pitchFamily="34" charset="0"/>
              </a:rPr>
              <a:t>Элвин</a:t>
            </a:r>
            <a:r>
              <a:rPr lang="ru-RU" altLang="ru-RU" sz="3600" dirty="0" smtClean="0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ru-RU" altLang="ru-RU" sz="3600" dirty="0" err="1" smtClean="0">
                <a:solidFill>
                  <a:srgbClr val="000000"/>
                </a:solidFill>
                <a:latin typeface="Arial" pitchFamily="34" charset="0"/>
              </a:rPr>
              <a:t>Тоффлер</a:t>
            </a:r>
            <a:endParaRPr lang="ru-RU" altLang="ru-RU" sz="3600" dirty="0" smtClean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7454" y="90010"/>
            <a:ext cx="4884596" cy="351901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3204945711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C:\Users\ntyurina\AppData\Local\Temp\FineReader10\media\image5.jpeg"/>
          <p:cNvPicPr/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6515" y="656147"/>
            <a:ext cx="3420380" cy="229525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-108161" y="-71764"/>
            <a:ext cx="9451050" cy="1384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28" tIns="45664" rIns="91328" bIns="45664">
            <a:spAutoFit/>
          </a:bodyPr>
          <a:lstStyle/>
          <a:p>
            <a:pPr algn="ctr"/>
            <a:r>
              <a:rPr lang="ru-RU" sz="2100" dirty="0" smtClean="0">
                <a:solidFill>
                  <a:schemeClr val="bg1"/>
                </a:solidFill>
              </a:rPr>
              <a:t>ПОДВЕДЕНИЕ ИТОГОВ. ОЦЕНКА. РЕФЛЕКСИЯ: КОЛЕСО КОМАНДЫ </a:t>
            </a:r>
          </a:p>
          <a:p>
            <a:pPr algn="ctr"/>
            <a:endParaRPr lang="ru-RU" sz="2100" dirty="0">
              <a:solidFill>
                <a:schemeClr val="bg1"/>
              </a:solidFill>
            </a:endParaRPr>
          </a:p>
          <a:p>
            <a:pPr algn="ctr"/>
            <a:r>
              <a:rPr lang="ru-RU" sz="2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</a:t>
            </a:r>
            <a:endParaRPr lang="ru-RU" sz="21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21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Блок-схема: узел 5"/>
          <p:cNvSpPr/>
          <p:nvPr/>
        </p:nvSpPr>
        <p:spPr>
          <a:xfrm>
            <a:off x="3446875" y="1088740"/>
            <a:ext cx="5580620" cy="5670630"/>
          </a:xfrm>
          <a:prstGeom prst="flowChartConnector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Прямая соединительная линия 9"/>
          <p:cNvCxnSpPr>
            <a:stCxn id="6" idx="2"/>
            <a:endCxn id="6" idx="6"/>
          </p:cNvCxnSpPr>
          <p:nvPr/>
        </p:nvCxnSpPr>
        <p:spPr>
          <a:xfrm>
            <a:off x="3446875" y="3924055"/>
            <a:ext cx="558062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>
            <a:stCxn id="6" idx="1"/>
            <a:endCxn id="6" idx="5"/>
          </p:cNvCxnSpPr>
          <p:nvPr/>
        </p:nvCxnSpPr>
        <p:spPr>
          <a:xfrm>
            <a:off x="4264138" y="1919185"/>
            <a:ext cx="3946094" cy="40097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>
            <a:stCxn id="6" idx="7"/>
            <a:endCxn id="6" idx="3"/>
          </p:cNvCxnSpPr>
          <p:nvPr/>
        </p:nvCxnSpPr>
        <p:spPr>
          <a:xfrm flipH="1">
            <a:off x="4264138" y="1919185"/>
            <a:ext cx="3946094" cy="400974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887394" y="1713182"/>
            <a:ext cx="2790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Мы доверяли друг другу и верили в успех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6507215" y="3223172"/>
            <a:ext cx="2790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Мы понимали, что результат - общий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4842030" y="5264244"/>
            <a:ext cx="279031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Группа отвечает за каждого, я отвечаю за всех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6435003" y="4052400"/>
            <a:ext cx="2790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Каждый знает, за что отвечает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3187572" y="4106543"/>
            <a:ext cx="27903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Каждый умеет </a:t>
            </a:r>
          </a:p>
          <a:p>
            <a:pPr algn="ctr"/>
            <a:r>
              <a:rPr lang="ru-RU" dirty="0" smtClean="0"/>
              <a:t>работать</a:t>
            </a:r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3249057" y="3223166"/>
            <a:ext cx="2790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Мы - лучшие</a:t>
            </a:r>
            <a:endParaRPr lang="ru-RU" dirty="0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718" y="3135940"/>
            <a:ext cx="3100375" cy="3125581"/>
          </a:xfrm>
          <a:prstGeom prst="rect">
            <a:avLst/>
          </a:prstGeom>
        </p:spPr>
      </p:pic>
      <p:sp>
        <p:nvSpPr>
          <p:cNvPr id="2" name="Овал 1"/>
          <p:cNvSpPr/>
          <p:nvPr/>
        </p:nvSpPr>
        <p:spPr>
          <a:xfrm>
            <a:off x="5562110" y="3304618"/>
            <a:ext cx="1215135" cy="115949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Общая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цель</a:t>
            </a:r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7857365" y="3924055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7407315" y="3834045"/>
            <a:ext cx="7173" cy="2183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7902370" y="3801630"/>
            <a:ext cx="7173" cy="2183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8441014" y="3801630"/>
            <a:ext cx="7173" cy="2183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4924867" y="3801630"/>
            <a:ext cx="7173" cy="2183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4426428" y="3834044"/>
            <a:ext cx="7173" cy="2183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3934757" y="3834043"/>
            <a:ext cx="7173" cy="2183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 flipH="1">
            <a:off x="6987926" y="4653783"/>
            <a:ext cx="157252" cy="1856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 flipH="1">
            <a:off x="7335862" y="5065747"/>
            <a:ext cx="157252" cy="1856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 flipH="1">
            <a:off x="7705870" y="5450608"/>
            <a:ext cx="157252" cy="1856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 flipH="1">
            <a:off x="4538738" y="2181427"/>
            <a:ext cx="157252" cy="1856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 flipH="1">
            <a:off x="4887394" y="2536728"/>
            <a:ext cx="157252" cy="1856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 flipH="1">
            <a:off x="5247075" y="2883512"/>
            <a:ext cx="157252" cy="1856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 flipH="1" flipV="1">
            <a:off x="7692879" y="2193933"/>
            <a:ext cx="239679" cy="2072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 flipH="1" flipV="1">
            <a:off x="7373274" y="2554012"/>
            <a:ext cx="239679" cy="2072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 flipH="1" flipV="1">
            <a:off x="6987926" y="2929186"/>
            <a:ext cx="239679" cy="2072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 flipH="1" flipV="1">
            <a:off x="5322431" y="4653783"/>
            <a:ext cx="239679" cy="2072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 flipH="1" flipV="1">
            <a:off x="4932040" y="5035608"/>
            <a:ext cx="239679" cy="2072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 flipH="1" flipV="1">
            <a:off x="4552390" y="5411674"/>
            <a:ext cx="239679" cy="2072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1147050"/>
      </p:ext>
    </p:extLst>
  </p:cSld>
  <p:clrMapOvr>
    <a:masterClrMapping/>
  </p:clrMapOvr>
  <p:transition spd="med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6545" y="1133745"/>
            <a:ext cx="8415935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600" dirty="0"/>
              <a:t>п</a:t>
            </a:r>
            <a:r>
              <a:rPr lang="ru-RU" sz="2600" dirty="0" smtClean="0"/>
              <a:t>редметная </a:t>
            </a:r>
            <a:r>
              <a:rPr lang="ru-RU" sz="2600" dirty="0"/>
              <a:t>(встраивается в тематическое планирование рабочей программы по выбранному </a:t>
            </a:r>
            <a:r>
              <a:rPr lang="ru-RU" sz="2600" dirty="0" smtClean="0"/>
              <a:t>предмету); </a:t>
            </a:r>
          </a:p>
          <a:p>
            <a:endParaRPr lang="ru-RU" sz="2600" dirty="0" smtClean="0"/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600" dirty="0" err="1" smtClean="0"/>
              <a:t>межпредметная</a:t>
            </a:r>
            <a:r>
              <a:rPr lang="ru-RU" sz="2600" dirty="0" smtClean="0"/>
              <a:t> </a:t>
            </a:r>
            <a:r>
              <a:rPr lang="ru-RU" sz="2600" dirty="0"/>
              <a:t>задача (находит точки </a:t>
            </a:r>
            <a:r>
              <a:rPr lang="ru-RU" sz="2600" dirty="0" smtClean="0"/>
              <a:t>    пересечения </a:t>
            </a:r>
            <a:r>
              <a:rPr lang="ru-RU" sz="2600" dirty="0"/>
              <a:t>областей знаний в нескольких предметах, для проведения выделяются отдельные часы учебного плана данного класса</a:t>
            </a:r>
            <a:r>
              <a:rPr lang="ru-RU" sz="2600" dirty="0" smtClean="0"/>
              <a:t>);</a:t>
            </a:r>
          </a:p>
          <a:p>
            <a:endParaRPr lang="ru-RU" sz="2600" dirty="0" smtClean="0"/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600" dirty="0"/>
              <a:t>о</a:t>
            </a:r>
            <a:r>
              <a:rPr lang="ru-RU" sz="2600" dirty="0" smtClean="0"/>
              <a:t>дновозрастная </a:t>
            </a:r>
            <a:r>
              <a:rPr lang="ru-RU" sz="2600" dirty="0"/>
              <a:t>или </a:t>
            </a:r>
            <a:r>
              <a:rPr lang="ru-RU" sz="2600" dirty="0" err="1" smtClean="0"/>
              <a:t>межвозрастная</a:t>
            </a:r>
            <a:r>
              <a:rPr lang="ru-RU" sz="2600" dirty="0"/>
              <a:t>;</a:t>
            </a:r>
            <a:endParaRPr lang="ru-RU" sz="2600" dirty="0" smtClean="0"/>
          </a:p>
          <a:p>
            <a:endParaRPr lang="ru-RU" sz="2600" dirty="0" smtClean="0"/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sz="2600" dirty="0"/>
              <a:t>с</a:t>
            </a:r>
            <a:r>
              <a:rPr lang="ru-RU" sz="2600" dirty="0" smtClean="0"/>
              <a:t>тартовая</a:t>
            </a:r>
            <a:r>
              <a:rPr lang="ru-RU" sz="2600" dirty="0"/>
              <a:t>, текущая, итоговая</a:t>
            </a:r>
            <a:r>
              <a:rPr lang="ru-RU" sz="2600" dirty="0" smtClean="0"/>
              <a:t>.</a:t>
            </a:r>
            <a:endParaRPr lang="ru-RU" sz="2600" dirty="0"/>
          </a:p>
          <a:p>
            <a:endParaRPr lang="ru-RU" sz="2600" dirty="0"/>
          </a:p>
          <a:p>
            <a:pPr latinLnBrk="1"/>
            <a:endParaRPr lang="ru-RU" sz="2600" dirty="0" smtClean="0"/>
          </a:p>
          <a:p>
            <a:pPr marL="285750" indent="-285750" latinLnBrk="1">
              <a:buFont typeface="Wingdings" panose="05000000000000000000" pitchFamily="2" charset="2"/>
              <a:buChar char="ü"/>
            </a:pPr>
            <a:endParaRPr lang="ru-RU" sz="2600" dirty="0"/>
          </a:p>
          <a:p>
            <a:endParaRPr lang="ru-RU" sz="2600" dirty="0"/>
          </a:p>
        </p:txBody>
      </p:sp>
      <p:sp>
        <p:nvSpPr>
          <p:cNvPr id="3" name="Прямоугольник 5"/>
          <p:cNvSpPr>
            <a:spLocks noChangeArrowheads="1"/>
          </p:cNvSpPr>
          <p:nvPr/>
        </p:nvSpPr>
        <p:spPr bwMode="auto">
          <a:xfrm>
            <a:off x="161510" y="-81390"/>
            <a:ext cx="886598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2627" fontAlgn="auto">
              <a:spcBef>
                <a:spcPts val="0"/>
              </a:spcBef>
              <a:spcAft>
                <a:spcPts val="0"/>
              </a:spcAft>
            </a:pPr>
            <a:r>
              <a:rPr lang="ru-RU" sz="22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ПЫ ПРОЕКТНЫХ ЗАДАЧ:</a:t>
            </a:r>
            <a:endParaRPr lang="ru-RU" altLang="ru-RU" sz="22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98234"/>
      </p:ext>
    </p:extLst>
  </p:cSld>
  <p:clrMapOvr>
    <a:masterClrMapping/>
  </p:clrMapOvr>
  <p:transition spd="med"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 txBox="1">
            <a:spLocks noChangeArrowheads="1"/>
          </p:cNvSpPr>
          <p:nvPr/>
        </p:nvSpPr>
        <p:spPr>
          <a:xfrm>
            <a:off x="0" y="-126395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4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ТАПЫ СОЗДАНИЯ ПРОЕКТНОЙ ЗАДАЧИ:</a:t>
            </a:r>
            <a:endParaRPr lang="ru-RU" sz="24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6505" y="869306"/>
            <a:ext cx="9143999" cy="59785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eriod"/>
            </a:pPr>
            <a:r>
              <a:rPr lang="ru-RU" sz="2550" dirty="0" smtClean="0"/>
              <a:t>Определить вид и место проектной задачи. 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Сформулировать диагностическую цель проектной задачи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Придумать продукт, который конструируют ученики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Сформулировать проблему (условия задачи)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Составить путь решения через выполнение заданий (инструкцию)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Продумать форму рефлексии (устно, письменно, в группе, перед классом и т.д.)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Продумать форму представления готового продукта (решения проектной задачи)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Продумать форму оценки (кто, когда и как, по какой форме оценивает).</a:t>
            </a:r>
          </a:p>
          <a:p>
            <a:endParaRPr lang="ru-RU" sz="2550" dirty="0" smtClean="0"/>
          </a:p>
          <a:p>
            <a:endParaRPr lang="ru-RU" sz="2550" dirty="0" smtClean="0"/>
          </a:p>
        </p:txBody>
      </p:sp>
    </p:spTree>
    <p:extLst>
      <p:ext uri="{BB962C8B-B14F-4D97-AF65-F5344CB8AC3E}">
        <p14:creationId xmlns:p14="http://schemas.microsoft.com/office/powerpoint/2010/main" val="3028582427"/>
      </p:ext>
    </p:extLst>
  </p:cSld>
  <p:clrMapOvr>
    <a:masterClrMapping/>
  </p:clrMapOvr>
  <p:transition spd="med"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 txBox="1">
            <a:spLocks noChangeArrowheads="1"/>
          </p:cNvSpPr>
          <p:nvPr/>
        </p:nvSpPr>
        <p:spPr>
          <a:xfrm>
            <a:off x="0" y="-171400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2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ГОРИТМ РЕШЕНИЯ ПРОЕКТНОЙ ЗАДАЧИ ДЛЯ УЧЕНИКА:</a:t>
            </a:r>
            <a:endParaRPr lang="ru-RU" sz="22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908720"/>
            <a:ext cx="9143999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arabicPeriod"/>
            </a:pPr>
            <a:r>
              <a:rPr lang="ru-RU" sz="2550" dirty="0" smtClean="0"/>
              <a:t>Познакомиться с условиями задачи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Познакомиться с инструкцией (содержанием заданий)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Обсудить организацию работы в группе по решению проектной задачи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Определить роль каждого участника групповой работы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Выполнить задания, сформулированные в инструкции (В 1 классе (возможно) учитель читает задания совместно с детьми)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Подготовиться к презентации продукта проектной задачи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Презентация готового продукта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Рефлексия своей деятельности (с выходом на причины).</a:t>
            </a:r>
          </a:p>
          <a:p>
            <a:pPr marL="457200" indent="-457200">
              <a:buAutoNum type="arabicPeriod"/>
            </a:pPr>
            <a:r>
              <a:rPr lang="ru-RU" sz="2550" dirty="0" smtClean="0"/>
              <a:t>Оценивание своего продукта.</a:t>
            </a:r>
          </a:p>
          <a:p>
            <a:endParaRPr lang="ru-RU" sz="2550" dirty="0" smtClean="0"/>
          </a:p>
          <a:p>
            <a:endParaRPr lang="ru-RU" sz="2550" dirty="0" smtClean="0"/>
          </a:p>
        </p:txBody>
      </p:sp>
    </p:spTree>
    <p:extLst>
      <p:ext uri="{BB962C8B-B14F-4D97-AF65-F5344CB8AC3E}">
        <p14:creationId xmlns:p14="http://schemas.microsoft.com/office/powerpoint/2010/main" val="644235400"/>
      </p:ext>
    </p:extLst>
  </p:cSld>
  <p:clrMapOvr>
    <a:masterClrMapping/>
  </p:clrMapOvr>
  <p:transition spd="med"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495" y="1043735"/>
            <a:ext cx="9126014" cy="5490610"/>
          </a:xfrm>
          <a:prstGeom prst="rect">
            <a:avLst/>
          </a:prstGeom>
        </p:spPr>
      </p:pic>
      <p:sp>
        <p:nvSpPr>
          <p:cNvPr id="3" name="Rectangle 1"/>
          <p:cNvSpPr txBox="1">
            <a:spLocks noChangeArrowheads="1"/>
          </p:cNvSpPr>
          <p:nvPr/>
        </p:nvSpPr>
        <p:spPr>
          <a:xfrm>
            <a:off x="116505" y="-171400"/>
            <a:ext cx="9144000" cy="531812"/>
          </a:xfrm>
          <a:prstGeom prst="rect">
            <a:avLst/>
          </a:prstGeom>
        </p:spPr>
        <p:txBody>
          <a:bodyPr lIns="90000" tIns="46800" rIns="90000" bIns="46800" anchor="b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631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2627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68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525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000" dirty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БЛЮДЕНИЕ ЗА ОСОБЕННОСТЯМИ ОБЩЕНИЯ И ВЗАИМОДЕЙСТВИЯ</a:t>
            </a:r>
            <a:endParaRPr lang="ru-RU" sz="2000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841630"/>
      </p:ext>
    </p:extLst>
  </p:cSld>
  <p:clrMapOvr>
    <a:masterClrMapping/>
  </p:clrMapOvr>
  <p:transition spd="med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973138" y="-36385"/>
            <a:ext cx="7172325" cy="401637"/>
          </a:xfrm>
          <a:prstGeom prst="rect">
            <a:avLst/>
          </a:prstGeom>
          <a:ln w="12700">
            <a:miter lim="400000"/>
          </a:ln>
        </p:spPr>
        <p:txBody>
          <a:bodyPr lIns="26788" tIns="26788" rIns="26788" bIns="26788" anchor="ctr">
            <a:spAutoFit/>
          </a:bodyPr>
          <a:lstStyle/>
          <a:p>
            <a:pPr algn="ctr">
              <a:defRPr/>
            </a:pPr>
            <a:r>
              <a:rPr lang="ru-RU" sz="2250" dirty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СЕРИЯ «ТРЕНАЖЁР МЛАДШЕГО ШКОЛЬНИКА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hangingPunct="0">
              <a:defRPr/>
            </a:pPr>
            <a:fld id="{D19CE383-2558-4FFF-BB88-1CE65EC5EECF}" type="slidenum">
              <a:rPr lang="ru-RU" kern="0" smtClean="0"/>
              <a:pPr hangingPunct="0">
                <a:defRPr/>
              </a:pPr>
              <a:t>35</a:t>
            </a:fld>
            <a:endParaRPr lang="ru-RU" kern="0"/>
          </a:p>
        </p:txBody>
      </p:sp>
      <p:pic>
        <p:nvPicPr>
          <p:cNvPr id="1741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4263" y="1557338"/>
            <a:ext cx="3233737" cy="427831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3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900" y="1557338"/>
            <a:ext cx="3255963" cy="427831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23737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96" y="863715"/>
            <a:ext cx="4175698" cy="560010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83201" y="1430998"/>
            <a:ext cx="4845191" cy="525658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7" name="Прямоугольник 6"/>
          <p:cNvSpPr/>
          <p:nvPr/>
        </p:nvSpPr>
        <p:spPr>
          <a:xfrm>
            <a:off x="35496" y="0"/>
            <a:ext cx="9252967" cy="885096"/>
          </a:xfrm>
          <a:prstGeom prst="rect">
            <a:avLst/>
          </a:prstGeom>
          <a:ln w="12700">
            <a:miter lim="400000"/>
          </a:ln>
        </p:spPr>
        <p:txBody>
          <a:bodyPr wrap="square" lIns="26788" tIns="26788" rIns="26788" bIns="26788" anchor="ctr">
            <a:spAutoFit/>
          </a:bodyPr>
          <a:lstStyle/>
          <a:p>
            <a:pPr>
              <a:defRPr/>
            </a:pPr>
            <a:r>
              <a:rPr lang="ru-RU" dirty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СПЕЦИАЛЬНО РАЗРАБОТАННАЯ СИСТЕМА ЗАДАНИЙ </a:t>
            </a:r>
            <a:r>
              <a:rPr lang="ru-RU" dirty="0" smtClean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НА </a:t>
            </a:r>
            <a:r>
              <a:rPr lang="ru-RU" dirty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ОСНОВЕ ТЕКСТА</a:t>
            </a:r>
            <a:r>
              <a:rPr lang="en-US" dirty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 </a:t>
            </a:r>
            <a:r>
              <a:rPr lang="ru-RU" dirty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И </a:t>
            </a:r>
            <a:r>
              <a:rPr lang="ru-RU" dirty="0">
                <a:latin typeface="Avenir Book"/>
                <a:ea typeface="Avenir Book"/>
                <a:cs typeface="Avenir Book"/>
              </a:rPr>
              <a:t>РИСУНКА:</a:t>
            </a:r>
          </a:p>
          <a:p>
            <a:pPr>
              <a:defRPr/>
            </a:pPr>
            <a:endParaRPr lang="ru-RU" dirty="0">
              <a:solidFill>
                <a:schemeClr val="bg1"/>
              </a:solidFill>
              <a:latin typeface="Avenir Book"/>
              <a:ea typeface="Avenir Book"/>
              <a:cs typeface="Avenir Book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3130" y="550863"/>
            <a:ext cx="1465262" cy="192563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17707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hangingPunct="0">
              <a:defRPr/>
            </a:pPr>
            <a:fld id="{6B58447D-0A9C-4099-9E1A-BFEEC23AABB6}" type="slidenum">
              <a:rPr lang="ru-RU" kern="0" smtClean="0"/>
              <a:pPr hangingPunct="0">
                <a:defRPr/>
              </a:pPr>
              <a:t>37</a:t>
            </a:fld>
            <a:endParaRPr lang="ru-RU" kern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56765" y="890090"/>
            <a:ext cx="4536504" cy="598566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8" name="Овал 7"/>
          <p:cNvSpPr/>
          <p:nvPr/>
        </p:nvSpPr>
        <p:spPr>
          <a:xfrm>
            <a:off x="2403459" y="852780"/>
            <a:ext cx="3959225" cy="43338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2457434" y="3014955"/>
            <a:ext cx="4481513" cy="6477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2397109" y="4745330"/>
            <a:ext cx="4627563" cy="64611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35496" y="0"/>
            <a:ext cx="9252967" cy="885096"/>
          </a:xfrm>
          <a:prstGeom prst="rect">
            <a:avLst/>
          </a:prstGeom>
          <a:ln w="12700">
            <a:miter lim="400000"/>
          </a:ln>
        </p:spPr>
        <p:txBody>
          <a:bodyPr wrap="square" lIns="26788" tIns="26788" rIns="26788" bIns="26788" anchor="ctr">
            <a:spAutoFit/>
          </a:bodyPr>
          <a:lstStyle/>
          <a:p>
            <a:pPr>
              <a:defRPr/>
            </a:pPr>
            <a:r>
              <a:rPr lang="ru-RU" dirty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СПЕЦИАЛЬНО РАЗРАБОТАННАЯ СИСТЕМА ЗАДАНИЙ </a:t>
            </a:r>
            <a:r>
              <a:rPr lang="ru-RU" dirty="0" smtClean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НА </a:t>
            </a:r>
            <a:r>
              <a:rPr lang="ru-RU" dirty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ОСНОВЕ ТЕКСТА</a:t>
            </a:r>
            <a:r>
              <a:rPr lang="en-US" dirty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 </a:t>
            </a:r>
            <a:r>
              <a:rPr lang="ru-RU" dirty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И </a:t>
            </a:r>
            <a:r>
              <a:rPr lang="ru-RU" dirty="0">
                <a:latin typeface="Avenir Book"/>
                <a:ea typeface="Avenir Book"/>
                <a:cs typeface="Avenir Book"/>
              </a:rPr>
              <a:t>РИСУНКА:</a:t>
            </a:r>
          </a:p>
          <a:p>
            <a:pPr>
              <a:defRPr/>
            </a:pPr>
            <a:endParaRPr lang="ru-RU" dirty="0">
              <a:solidFill>
                <a:schemeClr val="bg1"/>
              </a:solidFill>
              <a:latin typeface="Avenir Book"/>
              <a:ea typeface="Avenir Book"/>
              <a:cs typeface="Avenir Book"/>
            </a:endParaRPr>
          </a:p>
        </p:txBody>
      </p:sp>
    </p:spTree>
    <p:extLst>
      <p:ext uri="{BB962C8B-B14F-4D97-AF65-F5344CB8AC3E}">
        <p14:creationId xmlns:p14="http://schemas.microsoft.com/office/powerpoint/2010/main" val="16709821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hangingPunct="0">
              <a:defRPr/>
            </a:pPr>
            <a:fld id="{4FC6581F-D604-48D2-B61E-0E6DA8E708D2}" type="slidenum">
              <a:rPr lang="ru-RU" kern="0" smtClean="0"/>
              <a:pPr hangingPunct="0">
                <a:defRPr/>
              </a:pPr>
              <a:t>38</a:t>
            </a:fld>
            <a:endParaRPr lang="ru-RU" kern="0"/>
          </a:p>
        </p:txBody>
      </p:sp>
      <p:sp>
        <p:nvSpPr>
          <p:cNvPr id="9" name="Прямоугольник 8"/>
          <p:cNvSpPr/>
          <p:nvPr/>
        </p:nvSpPr>
        <p:spPr>
          <a:xfrm>
            <a:off x="107950" y="-81390"/>
            <a:ext cx="9180513" cy="1216025"/>
          </a:xfrm>
          <a:prstGeom prst="rect">
            <a:avLst/>
          </a:prstGeom>
          <a:ln w="12700">
            <a:miter lim="400000"/>
          </a:ln>
        </p:spPr>
        <p:txBody>
          <a:bodyPr lIns="26788" tIns="26788" rIns="26788" bIns="26788" anchor="ctr">
            <a:spAutoFit/>
          </a:bodyPr>
          <a:lstStyle/>
          <a:p>
            <a:pPr>
              <a:defRPr/>
            </a:pPr>
            <a:r>
              <a:rPr lang="ru-RU" sz="2250" b="1" dirty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Специально разработанная система заданий на основе текста </a:t>
            </a:r>
            <a:r>
              <a:rPr lang="ru-RU" sz="2250" b="1" dirty="0">
                <a:latin typeface="Avenir Book"/>
                <a:ea typeface="Avenir Book"/>
                <a:cs typeface="Avenir Book"/>
              </a:rPr>
              <a:t>формирует умения:</a:t>
            </a:r>
          </a:p>
          <a:p>
            <a:pPr>
              <a:defRPr/>
            </a:pPr>
            <a:endParaRPr lang="ru-RU" sz="800" b="1" dirty="0">
              <a:solidFill>
                <a:schemeClr val="bg1"/>
              </a:solidFill>
              <a:latin typeface="Avenir Book"/>
              <a:ea typeface="Avenir Book"/>
              <a:cs typeface="Avenir Book"/>
            </a:endParaRPr>
          </a:p>
          <a:p>
            <a:pPr marL="514367" lvl="1" indent="-171450">
              <a:buFont typeface="Wingdings" panose="05000000000000000000" pitchFamily="2" charset="2"/>
              <a:buChar char="ü"/>
              <a:defRPr/>
            </a:pPr>
            <a:r>
              <a:rPr lang="ru-RU" sz="2250" b="1" dirty="0">
                <a:solidFill>
                  <a:schemeClr val="tx1">
                    <a:lumMod val="75000"/>
                  </a:schemeClr>
                </a:solidFill>
                <a:latin typeface="Avenir Book"/>
                <a:ea typeface="Avenir Book"/>
                <a:cs typeface="Avenir Book"/>
              </a:rPr>
              <a:t>делать выводы на основе наблюдений;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665" y="1344781"/>
            <a:ext cx="4752528" cy="39564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8922" y="2852936"/>
            <a:ext cx="4583675" cy="392886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7" name="Овал 6"/>
          <p:cNvSpPr/>
          <p:nvPr/>
        </p:nvSpPr>
        <p:spPr>
          <a:xfrm>
            <a:off x="4284663" y="5661025"/>
            <a:ext cx="4859337" cy="79216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51824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5198" y="1387654"/>
            <a:ext cx="5426912" cy="246092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6" name="Номер слайда 5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hangingPunct="0">
              <a:defRPr/>
            </a:pPr>
            <a:fld id="{14355058-660B-4C4C-BB80-5C87283F5FD3}" type="slidenum">
              <a:rPr lang="ru-RU" kern="0" smtClean="0"/>
              <a:pPr hangingPunct="0">
                <a:defRPr/>
              </a:pPr>
              <a:t>39</a:t>
            </a:fld>
            <a:endParaRPr lang="ru-RU" kern="0"/>
          </a:p>
        </p:txBody>
      </p:sp>
      <p:sp>
        <p:nvSpPr>
          <p:cNvPr id="9" name="Прямоугольник 8"/>
          <p:cNvSpPr/>
          <p:nvPr/>
        </p:nvSpPr>
        <p:spPr>
          <a:xfrm>
            <a:off x="107950" y="-81390"/>
            <a:ext cx="9180513" cy="1216025"/>
          </a:xfrm>
          <a:prstGeom prst="rect">
            <a:avLst/>
          </a:prstGeom>
          <a:ln w="12700">
            <a:miter lim="400000"/>
          </a:ln>
        </p:spPr>
        <p:txBody>
          <a:bodyPr lIns="26788" tIns="26788" rIns="26788" bIns="26788" anchor="ctr">
            <a:spAutoFit/>
          </a:bodyPr>
          <a:lstStyle/>
          <a:p>
            <a:pPr>
              <a:defRPr/>
            </a:pPr>
            <a:r>
              <a:rPr lang="ru-RU" sz="2250" b="1" dirty="0">
                <a:solidFill>
                  <a:schemeClr val="bg1"/>
                </a:solidFill>
                <a:latin typeface="Avenir Book"/>
                <a:ea typeface="Avenir Book"/>
                <a:cs typeface="Avenir Book"/>
              </a:rPr>
              <a:t>Специально разработанная система заданий на основе текста </a:t>
            </a:r>
            <a:r>
              <a:rPr lang="ru-RU" sz="2250" b="1" dirty="0">
                <a:latin typeface="Avenir Book"/>
                <a:ea typeface="Avenir Book"/>
                <a:cs typeface="Avenir Book"/>
              </a:rPr>
              <a:t>формирует умения:</a:t>
            </a:r>
          </a:p>
          <a:p>
            <a:pPr>
              <a:defRPr/>
            </a:pPr>
            <a:endParaRPr lang="ru-RU" sz="800" b="1" dirty="0">
              <a:solidFill>
                <a:schemeClr val="bg1"/>
              </a:solidFill>
              <a:latin typeface="Avenir Book"/>
              <a:ea typeface="Avenir Book"/>
              <a:cs typeface="Avenir Book"/>
            </a:endParaRPr>
          </a:p>
          <a:p>
            <a:pPr marL="514367" lvl="1" indent="-171450">
              <a:buFont typeface="Wingdings" panose="05000000000000000000" pitchFamily="2" charset="2"/>
              <a:buChar char="ü"/>
              <a:defRPr/>
            </a:pPr>
            <a:r>
              <a:rPr lang="ru-RU" sz="2250" b="1" dirty="0">
                <a:solidFill>
                  <a:schemeClr val="tx1">
                    <a:lumMod val="75000"/>
                  </a:schemeClr>
                </a:solidFill>
                <a:latin typeface="Avenir Book"/>
                <a:ea typeface="Avenir Book"/>
                <a:cs typeface="Avenir Book"/>
              </a:rPr>
              <a:t>делать выводы на основе наблюдений;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5199" y="3699031"/>
            <a:ext cx="5426912" cy="278883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7" name="Овал 6"/>
          <p:cNvSpPr/>
          <p:nvPr/>
        </p:nvSpPr>
        <p:spPr>
          <a:xfrm>
            <a:off x="135198" y="3598268"/>
            <a:ext cx="5426912" cy="144015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1" y="5043756"/>
            <a:ext cx="5570240" cy="117013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98338" y="1354318"/>
            <a:ext cx="5471902" cy="81113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1990" y="1840214"/>
            <a:ext cx="4656615" cy="213692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2018350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5"/>
          <p:cNvSpPr>
            <a:spLocks noChangeArrowheads="1"/>
          </p:cNvSpPr>
          <p:nvPr/>
        </p:nvSpPr>
        <p:spPr bwMode="auto">
          <a:xfrm>
            <a:off x="161510" y="-38949"/>
            <a:ext cx="8865986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2627" fontAlgn="auto">
              <a:spcBef>
                <a:spcPts val="0"/>
              </a:spcBef>
              <a:spcAft>
                <a:spcPts val="0"/>
              </a:spcAft>
            </a:pPr>
            <a:r>
              <a:rPr lang="ru-RU" sz="22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СОСТАВЛЯЮЩИЕ УМЕНИЯ УЧИТЬСЯ</a:t>
            </a:r>
          </a:p>
          <a:p>
            <a:pPr algn="ctr" defTabSz="912627"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(По Г. А. </a:t>
            </a:r>
            <a:r>
              <a:rPr lang="ru-RU" altLang="ru-RU" sz="2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Цукерман</a:t>
            </a:r>
            <a:r>
              <a:rPr lang="ru-RU" altLang="ru-RU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altLang="ru-RU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383395"/>
              </p:ext>
            </p:extLst>
          </p:nvPr>
        </p:nvGraphicFramePr>
        <p:xfrm>
          <a:off x="161510" y="1397000"/>
          <a:ext cx="8865986" cy="50023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6364">
                  <a:extLst>
                    <a:ext uri="{9D8B030D-6E8A-4147-A177-3AD203B41FA5}">
                      <a16:colId xmlns:a16="http://schemas.microsoft.com/office/drawing/2014/main" xmlns="" val="1219955012"/>
                    </a:ext>
                  </a:extLst>
                </a:gridCol>
                <a:gridCol w="4899622">
                  <a:extLst>
                    <a:ext uri="{9D8B030D-6E8A-4147-A177-3AD203B41FA5}">
                      <a16:colId xmlns:a16="http://schemas.microsoft.com/office/drawing/2014/main" xmlns="" val="37920409"/>
                    </a:ext>
                  </a:extLst>
                </a:gridCol>
              </a:tblGrid>
              <a:tr h="3085549">
                <a:tc>
                  <a:txBody>
                    <a:bodyPr/>
                    <a:lstStyle/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2400" b="0" kern="1200" dirty="0" smtClean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флексивные </a:t>
                      </a: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kern="1200" dirty="0" smtClean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kern="1200" dirty="0" smtClean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2400" b="0" kern="1200" dirty="0" smtClean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йствия</a:t>
                      </a: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2400" b="0" i="0" u="none" strike="noStrike" spc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«Чему учиться?»</a:t>
                      </a:r>
                      <a:endParaRPr lang="ru-RU" sz="24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</a:txBody>
                  <a:tcPr marL="504190" marR="504190" marT="459740" marB="459740"/>
                </a:tc>
                <a:tc>
                  <a:txBody>
                    <a:bodyPr/>
                    <a:lstStyle/>
                    <a:p>
                      <a:pPr marL="0" marR="0" indent="0" algn="l" defTabSz="9126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kern="1200" dirty="0" smtClean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пособность опознать задачу как новую, выяснить, каких средств недостаёт для её решения; </a:t>
                      </a:r>
                    </a:p>
                    <a:p>
                      <a:pPr marL="0" marR="0" indent="0" algn="l" defTabSz="9126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b="0" kern="1200" dirty="0" smtClean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9126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kern="1200" dirty="0" smtClean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чему имеющихся у учащихся средств и способов действия недостаточно для решения новой задачи, что именно он не знает и не может?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28090985"/>
                  </a:ext>
                </a:extLst>
              </a:tr>
              <a:tr h="1916781">
                <a:tc>
                  <a:txBody>
                    <a:bodyPr/>
                    <a:lstStyle/>
                    <a:p>
                      <a:pPr marL="0" marR="0" indent="0" algn="l" defTabSz="91262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    Продуктивные</a:t>
                      </a:r>
                      <a:r>
                        <a:rPr lang="ru-RU" sz="2400" b="0" kern="1200" dirty="0" smtClean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kern="1200" dirty="0" smtClean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24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</a:t>
                      </a: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24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действия</a:t>
                      </a: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240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«Как присвоить </a:t>
                      </a: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endParaRPr lang="ru-RU" sz="2400" b="0" i="0" u="none" strike="noStrike" spc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2400" b="0" i="0" u="none" strike="noStrike" spc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недостающие знания?»</a:t>
                      </a:r>
                      <a:endParaRPr lang="ru-RU" sz="2400" dirty="0" smtClean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</a:endParaRPr>
                    </a:p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Wingdings" panose="05000000000000000000" pitchFamily="2" charset="2"/>
                        <a:buChar char="q"/>
                        <a:tabLst>
                          <a:tab pos="96520" algn="l"/>
                        </a:tabLst>
                      </a:pPr>
                      <a:r>
                        <a:rPr lang="ru-RU" sz="2000" u="none" strike="noStrike" spc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Учебное сотрудничество ребёнка и взрослого</a:t>
                      </a:r>
                    </a:p>
                    <a:p>
                      <a:pPr marL="342900" lvl="0" indent="-34290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Wingdings" panose="05000000000000000000" pitchFamily="2" charset="2"/>
                        <a:buChar char="q"/>
                        <a:tabLst>
                          <a:tab pos="107315" algn="l"/>
                        </a:tabLst>
                      </a:pPr>
                      <a:r>
                        <a:rPr lang="ru-RU" sz="2000" u="none" strike="noStrike" spc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Учебное сотрудничество со </a:t>
                      </a:r>
                      <a:r>
                        <a:rPr lang="ru-RU" sz="2000" u="none" strike="noStrike" spc="0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сверстниками</a:t>
                      </a:r>
                    </a:p>
                    <a:p>
                      <a:pPr marL="342900" lvl="0" indent="-342900" algn="l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800"/>
                        <a:buFont typeface="Wingdings" panose="05000000000000000000" pitchFamily="2" charset="2"/>
                        <a:buChar char="q"/>
                        <a:tabLst>
                          <a:tab pos="107315" algn="l"/>
                        </a:tabLst>
                      </a:pPr>
                      <a:r>
                        <a:rPr lang="ru-RU" sz="2000" u="none" strike="noStrike" spc="0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Сотрудничество с собой</a:t>
                      </a:r>
                      <a:endParaRPr lang="ru-RU" sz="2000" u="none" strike="noStrike" spc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75340505"/>
                  </a:ext>
                </a:extLst>
              </a:tr>
            </a:tbl>
          </a:graphicData>
        </a:graphic>
      </p:graphicFrame>
      <p:pic>
        <p:nvPicPr>
          <p:cNvPr id="4" name="Picture 2" descr="C:\Документы школа\картинки\учеба\вопрос 3.gif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565" y="231884"/>
            <a:ext cx="520810" cy="898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46719507"/>
      </p:ext>
    </p:extLst>
  </p:cSld>
  <p:clrMapOvr>
    <a:masterClrMapping/>
  </p:clrMapOvr>
  <p:transition spd="med"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2"/>
          <p:cNvSpPr txBox="1">
            <a:spLocks/>
          </p:cNvSpPr>
          <p:nvPr/>
        </p:nvSpPr>
        <p:spPr bwMode="auto">
          <a:xfrm>
            <a:off x="-1" y="2123855"/>
            <a:ext cx="9094789" cy="1264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64" tIns="45632" rIns="91264" bIns="45632" numCol="1" anchor="t" anchorCtr="0" compatLnSpc="1">
            <a:prstTxWarp prst="textNoShape">
              <a:avLst/>
            </a:prstTxWarp>
            <a:noAutofit/>
          </a:bodyPr>
          <a:lstStyle>
            <a:lvl1pPr marL="342657" indent="-342657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426" indent="-2855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193" indent="-228439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071" indent="-228439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948" indent="-228439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2826" indent="-228439" algn="l" defTabSz="9137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702" indent="-228439" algn="l" defTabSz="9137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580" indent="-228439" algn="l" defTabSz="9137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458" indent="-228439" algn="l" defTabSz="9137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8000" dirty="0" smtClean="0"/>
              <a:t>КАКИЕ?</a:t>
            </a:r>
            <a:endParaRPr lang="ru-RU" sz="8000" dirty="0"/>
          </a:p>
        </p:txBody>
      </p:sp>
      <p:sp>
        <p:nvSpPr>
          <p:cNvPr id="3" name="Прямоугольник 1"/>
          <p:cNvSpPr>
            <a:spLocks noChangeArrowheads="1"/>
          </p:cNvSpPr>
          <p:nvPr/>
        </p:nvSpPr>
        <p:spPr bwMode="auto">
          <a:xfrm>
            <a:off x="0" y="0"/>
            <a:ext cx="9094788" cy="1938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28" tIns="45664" rIns="91328" bIns="45664">
            <a:sp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</a:rPr>
              <a:t>В ХОДЕ РЕШЕНИЯ ПРОЕКТНЫХ ЗАДАЧ</a:t>
            </a:r>
          </a:p>
          <a:p>
            <a:pPr algn="ctr"/>
            <a:r>
              <a:rPr lang="ru-RU" sz="2000" dirty="0" smtClean="0"/>
              <a:t>У МЛАДШИХ ШКОЛЬНИКОВ ФОРМИРУЮТСЯ</a:t>
            </a:r>
          </a:p>
          <a:p>
            <a:pPr algn="ctr"/>
            <a:r>
              <a:rPr lang="ru-RU" sz="2000" dirty="0" smtClean="0"/>
              <a:t>МЕТАПРЕДМЕТНЫЕ УМЕНИЯ</a:t>
            </a:r>
            <a:endParaRPr lang="ru-RU" sz="2000" dirty="0"/>
          </a:p>
          <a:p>
            <a:pPr algn="ctr"/>
            <a:endParaRPr lang="ru-RU" sz="2000" dirty="0">
              <a:solidFill>
                <a:schemeClr val="bg1"/>
              </a:solidFill>
            </a:endParaRPr>
          </a:p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</a:t>
            </a:r>
            <a:endParaRPr lang="ru-RU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305680"/>
      </p:ext>
    </p:extLst>
  </p:cSld>
  <p:clrMapOvr>
    <a:masterClrMapping/>
  </p:clrMapOvr>
  <p:transition spd="med"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605" t="5530" r="7863" b="10295"/>
          <a:stretch/>
        </p:blipFill>
        <p:spPr>
          <a:xfrm>
            <a:off x="1182" y="0"/>
            <a:ext cx="9188970" cy="634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670187"/>
      </p:ext>
    </p:extLst>
  </p:cSld>
  <p:clrMapOvr>
    <a:masterClrMapping/>
  </p:clrMapOvr>
  <p:transition spd="med"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2994" name="Picture 18" descr="D:\Data\Images\41-0074-01.jpg"/>
          <p:cNvPicPr>
            <a:picLocks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06" y="1785949"/>
            <a:ext cx="2169586" cy="29932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2995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02255" y="3834044"/>
            <a:ext cx="2263957" cy="301653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2996" name="Picture 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6212" y="3834045"/>
            <a:ext cx="2307302" cy="305288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2997" name="Picture 2" descr="C:\Documents and Settings\VMuskatinev\Рабочий стол\Презентации 2011\Oblog_rabotaem po nov standartam.jpg"/>
          <p:cNvPicPr>
            <a:picLocks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57481" y="1410485"/>
            <a:ext cx="1525693" cy="2171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2998" name="Picture 13" descr="P:\Планы и отчеты ЦИПР\ОТДЕЛ РЕКЛАМЫ\Каталоги_11\НА ВЕРСТКУ\АРХИВ\!!!СТАНДАРТЫ\Standart_new_09.06\Начал шк\41-0116-01.jpg"/>
          <p:cNvPicPr>
            <a:picLocks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02255" y="1407874"/>
            <a:ext cx="1496496" cy="217438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3000" name="Прямоугольник 1"/>
          <p:cNvSpPr>
            <a:spLocks noChangeArrowheads="1"/>
          </p:cNvSpPr>
          <p:nvPr/>
        </p:nvSpPr>
        <p:spPr bwMode="auto">
          <a:xfrm>
            <a:off x="0" y="-36385"/>
            <a:ext cx="91440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sz="2000" dirty="0" smtClean="0">
                <a:solidFill>
                  <a:schemeClr val="bg1"/>
                </a:solidFill>
              </a:rPr>
              <a:t>ЧЕМ МОЖЕТ ПОМОЧЬ ПЕДАГОГАМ ИЗДАТЕЛЬСТВО «ПРОСВЕЩЕНИЕ»? </a:t>
            </a:r>
            <a:endParaRPr lang="ru-RU" altLang="ru-RU" sz="2000" dirty="0" smtClean="0">
              <a:solidFill>
                <a:schemeClr val="bg1"/>
              </a:solidFill>
            </a:endParaRPr>
          </a:p>
          <a:p>
            <a:pPr algn="just" eaLnBrk="1" hangingPunct="1"/>
            <a:endParaRPr lang="ru-RU" altLang="ru-RU" sz="20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13001" name="Picture 15" descr="http://www.prosv.ru/Attachment.aspx?Id=14354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488" y="1407157"/>
            <a:ext cx="1511300" cy="220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3002" name="Picture 9" descr="D:\Data\Images\41-0268-01.jpg"/>
          <p:cNvPicPr>
            <a:picLocks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88340" y="1407157"/>
            <a:ext cx="1611700" cy="218734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003" name="Picture 13" descr="http://prosv.ru/Attachment.aspx?Id=1245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7216" y="3699030"/>
            <a:ext cx="2140249" cy="3041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Название 1"/>
          <p:cNvSpPr txBox="1">
            <a:spLocks/>
          </p:cNvSpPr>
          <p:nvPr/>
        </p:nvSpPr>
        <p:spPr>
          <a:xfrm>
            <a:off x="904636" y="1057496"/>
            <a:ext cx="9608024" cy="487638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rgbClr val="0073B8"/>
                </a:solidFill>
                <a:latin typeface="Calibri" pitchFamily="34" charset="0"/>
              </a:rPr>
              <a:t>НАВЫКИ РАЗРЕШЕНИЯ ПРОБЛЕМ В ХОДЕ СОВМЕСТНОЙ ДЕЯТЕЛЬНОСТИ </a:t>
            </a:r>
            <a:endParaRPr lang="ru-RU" sz="2000" b="1" dirty="0">
              <a:solidFill>
                <a:srgbClr val="0073B8"/>
              </a:solidFill>
              <a:latin typeface="Calibri" pitchFamily="34" charset="0"/>
            </a:endParaRPr>
          </a:p>
        </p:txBody>
      </p:sp>
      <p:pic>
        <p:nvPicPr>
          <p:cNvPr id="14" name="Picture 4" descr="https://www.asi.org.ru/wp-content/uploads/2015/03/vaimopomoshh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3334" y="1057496"/>
            <a:ext cx="620675" cy="644595"/>
          </a:xfrm>
          <a:prstGeom prst="rect">
            <a:avLst/>
          </a:prstGeom>
          <a:noFill/>
          <a:ln w="1905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88924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>
            <a:spLocks noChangeArrowheads="1"/>
          </p:cNvSpPr>
          <p:nvPr/>
        </p:nvSpPr>
        <p:spPr bwMode="auto">
          <a:xfrm>
            <a:off x="0" y="-36385"/>
            <a:ext cx="9094788" cy="1631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28" tIns="45664" rIns="91328" bIns="45664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РАДИ ОБЩЕГО ДЕЛА ЕСТЬ СМЫСЛ ТРУДИТЬСЯ!</a:t>
            </a:r>
          </a:p>
          <a:p>
            <a:pPr algn="ctr"/>
            <a:r>
              <a:rPr lang="ru-RU" sz="2000" dirty="0">
                <a:solidFill>
                  <a:schemeClr val="bg1"/>
                </a:solidFill>
              </a:rPr>
              <a:t/>
            </a:r>
            <a:br>
              <a:rPr lang="ru-RU" sz="2000" dirty="0">
                <a:solidFill>
                  <a:schemeClr val="bg1"/>
                </a:solidFill>
              </a:rPr>
            </a:br>
            <a:endParaRPr lang="ru-RU" sz="2000" dirty="0">
              <a:solidFill>
                <a:schemeClr val="bg1"/>
              </a:solidFill>
            </a:endParaRPr>
          </a:p>
          <a:p>
            <a:pPr algn="ctr"/>
            <a:r>
              <a:rPr lang="ru-RU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</a:t>
            </a:r>
            <a:endParaRPr lang="ru-RU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431" y="863715"/>
            <a:ext cx="8325925" cy="5472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891087"/>
      </p:ext>
    </p:extLst>
  </p:cSld>
  <p:clrMapOvr>
    <a:masterClrMapping/>
  </p:clrMapOvr>
  <p:transition spd="med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4"/>
          <p:cNvSpPr>
            <a:spLocks noChangeArrowheads="1"/>
          </p:cNvSpPr>
          <p:nvPr/>
        </p:nvSpPr>
        <p:spPr bwMode="auto">
          <a:xfrm>
            <a:off x="0" y="1125545"/>
            <a:ext cx="9144000" cy="3785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64" tIns="45632" rIns="91264" bIns="45632">
            <a:spAutoFit/>
          </a:bodyPr>
          <a:lstStyle/>
          <a:p>
            <a:pPr algn="ctr"/>
            <a:r>
              <a:rPr lang="ru-RU" sz="28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Издательство  «Просвещение»</a:t>
            </a:r>
          </a:p>
          <a:p>
            <a:pPr algn="ctr"/>
            <a:r>
              <a: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127473, </a:t>
            </a:r>
            <a:r>
              <a:rPr lang="ru-RU" sz="20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г. </a:t>
            </a:r>
            <a:r>
              <a: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Москва, </a:t>
            </a:r>
            <a:r>
              <a:rPr lang="ru-RU" sz="20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ул. </a:t>
            </a:r>
            <a:r>
              <a:rPr lang="ru-RU" sz="2000" dirty="0" err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Краснопролетарская</a:t>
            </a:r>
            <a:r>
              <a: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20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д. </a:t>
            </a:r>
            <a:r>
              <a: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16, </a:t>
            </a:r>
            <a:r>
              <a:rPr lang="ru-RU" sz="20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стр. 3</a:t>
            </a:r>
          </a:p>
          <a:p>
            <a:pPr algn="ctr"/>
            <a:r>
              <a:rPr lang="ru-RU" sz="20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Тел</a:t>
            </a:r>
            <a:r>
              <a: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.: 8(495) 789 30 40</a:t>
            </a:r>
            <a:endParaRPr lang="ru-RU" sz="2000" u="sng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Сайт  издательства «Просвещение» </a:t>
            </a:r>
            <a:r>
              <a:rPr lang="en-US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http://</a:t>
            </a:r>
            <a:r>
              <a:rPr lang="en-US" sz="2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www.</a:t>
            </a:r>
            <a:r>
              <a:rPr lang="en-US" sz="28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prosv.ru</a:t>
            </a:r>
            <a:endParaRPr lang="en-US" sz="28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  <a:hlinkClick r:id="rId3"/>
            </a:endParaRPr>
          </a:p>
          <a:p>
            <a:pPr algn="ctr"/>
            <a:r>
              <a:rPr lang="ru-RU" sz="2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Сайт  </a:t>
            </a:r>
            <a:r>
              <a:rPr lang="ru-RU" sz="2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«Начальная школа» 1-4.</a:t>
            </a:r>
            <a:r>
              <a:rPr lang="en-US" sz="2400" dirty="0" err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prosv</a:t>
            </a:r>
            <a:r>
              <a:rPr lang="ru-RU" sz="2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sz="2400" dirty="0" err="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ru</a:t>
            </a:r>
            <a:endParaRPr lang="ru-RU" sz="24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8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  <a:hlinkClick r:id="rId3"/>
            </a:endParaRPr>
          </a:p>
          <a:p>
            <a:pPr algn="ctr"/>
            <a:r>
              <a: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Ведущий методист  Центра начального образования </a:t>
            </a:r>
          </a:p>
          <a:p>
            <a:pPr algn="ctr"/>
            <a:r>
              <a: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издательства «Просвещение»</a:t>
            </a:r>
            <a:endParaRPr lang="ru-RU" sz="32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Тюрина Наталья Петровна</a:t>
            </a:r>
            <a:endParaRPr lang="ru-RU" sz="2400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8 (495) 789 </a:t>
            </a:r>
            <a:r>
              <a:rPr lang="en-US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30 </a:t>
            </a:r>
            <a:r>
              <a: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40 (</a:t>
            </a:r>
            <a:r>
              <a:rPr lang="en-US" sz="20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20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35</a:t>
            </a:r>
            <a:r>
              <a:rPr lang="en-US" sz="20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2000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) </a:t>
            </a:r>
          </a:p>
          <a:p>
            <a:pPr algn="ctr"/>
            <a:r>
              <a:rPr lang="en-US" sz="2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NTyurina</a:t>
            </a:r>
            <a:r>
              <a:rPr lang="en-US" sz="2400" b="1" u="sng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@prosv.ru</a:t>
            </a:r>
            <a:endParaRPr lang="en-US" sz="2400" b="1" u="sng" dirty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5781" name="Номер слайда 9"/>
          <p:cNvSpPr>
            <a:spLocks noGrp="1"/>
          </p:cNvSpPr>
          <p:nvPr>
            <p:ph type="sldNum" sz="quarter" idx="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C9A90EE-0754-440B-9638-8A1258F49ED3}" type="slidenum">
              <a:rPr lang="ru-RU" smtClean="0"/>
              <a:pPr/>
              <a:t>44</a:t>
            </a:fld>
            <a:endParaRPr lang="ru-RU" smtClean="0"/>
          </a:p>
        </p:txBody>
      </p:sp>
      <p:sp>
        <p:nvSpPr>
          <p:cNvPr id="4" name="Прямоугольник 5"/>
          <p:cNvSpPr>
            <a:spLocks noChangeArrowheads="1"/>
          </p:cNvSpPr>
          <p:nvPr/>
        </p:nvSpPr>
        <p:spPr bwMode="auto">
          <a:xfrm>
            <a:off x="971554" y="-36385"/>
            <a:ext cx="7065832" cy="434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280" tIns="45640" rIns="91280" bIns="4564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altLang="ru-RU" sz="2400" dirty="0" smtClean="0">
                <a:solidFill>
                  <a:schemeClr val="bg1"/>
                </a:solidFill>
              </a:rPr>
              <a:t>КОНТАКТЫ:</a:t>
            </a:r>
            <a:endParaRPr lang="ru-RU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advTm="38932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66855" y="425280"/>
            <a:ext cx="5008886" cy="6204691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61509" y="-81390"/>
            <a:ext cx="89824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ОПРЕДЕЛЯЕТ ЦЕЛЬ ДЕЯТЕЛЬНОСТИ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61510" y="5094185"/>
            <a:ext cx="2835315" cy="484663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square" lIns="68496" tIns="34248" rIns="68496" bIns="34248">
            <a:spAutoFit/>
          </a:bodyPr>
          <a:lstStyle/>
          <a:p>
            <a:pPr>
              <a:defRPr/>
            </a:pPr>
            <a:r>
              <a:rPr lang="ru-RU" sz="1350" dirty="0"/>
              <a:t>Русский язык, 1 </a:t>
            </a:r>
            <a:r>
              <a:rPr lang="ru-RU" sz="1350" dirty="0" err="1"/>
              <a:t>кл</a:t>
            </a:r>
            <a:r>
              <a:rPr lang="ru-RU" sz="1350" dirty="0"/>
              <a:t>., </a:t>
            </a:r>
            <a:endParaRPr lang="ru-RU" sz="1350" dirty="0" smtClean="0"/>
          </a:p>
          <a:p>
            <a:pPr>
              <a:defRPr/>
            </a:pPr>
            <a:r>
              <a:rPr lang="ru-RU" sz="1350" dirty="0" smtClean="0"/>
              <a:t>авт</a:t>
            </a:r>
            <a:r>
              <a:rPr lang="ru-RU" sz="1350" dirty="0"/>
              <a:t>. В.П. </a:t>
            </a:r>
            <a:r>
              <a:rPr lang="ru-RU" sz="1350" dirty="0" err="1"/>
              <a:t>Канакина</a:t>
            </a:r>
            <a:r>
              <a:rPr lang="ru-RU" sz="1350" dirty="0"/>
              <a:t> и др.</a:t>
            </a:r>
          </a:p>
        </p:txBody>
      </p:sp>
    </p:spTree>
    <p:extLst>
      <p:ext uri="{BB962C8B-B14F-4D97-AF65-F5344CB8AC3E}">
        <p14:creationId xmlns:p14="http://schemas.microsoft.com/office/powerpoint/2010/main" val="311710187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5022050" y="5949280"/>
            <a:ext cx="3960440" cy="276914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square" lIns="68496" tIns="34248" rIns="68496" bIns="34248">
            <a:spAutoFit/>
          </a:bodyPr>
          <a:lstStyle/>
          <a:p>
            <a:pPr>
              <a:defRPr/>
            </a:pPr>
            <a:r>
              <a:rPr lang="ru-RU" sz="1350" dirty="0"/>
              <a:t>Русский язык, 1 </a:t>
            </a:r>
            <a:r>
              <a:rPr lang="ru-RU" sz="1350" dirty="0" err="1"/>
              <a:t>кл</a:t>
            </a:r>
            <a:r>
              <a:rPr lang="ru-RU" sz="1350" dirty="0"/>
              <a:t>., </a:t>
            </a:r>
            <a:r>
              <a:rPr lang="ru-RU" sz="1350" dirty="0" smtClean="0"/>
              <a:t>авт</a:t>
            </a:r>
            <a:r>
              <a:rPr lang="ru-RU" sz="1350" dirty="0"/>
              <a:t>. В.П. </a:t>
            </a:r>
            <a:r>
              <a:rPr lang="ru-RU" sz="1350" dirty="0" err="1"/>
              <a:t>Канакина</a:t>
            </a:r>
            <a:r>
              <a:rPr lang="ru-RU" sz="1350" dirty="0"/>
              <a:t> и др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975" y="1178750"/>
            <a:ext cx="7650850" cy="378042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61509" y="-81390"/>
            <a:ext cx="88209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ОПРЕДЕЛЯЕТ ЦЕЛЬ И ЗАДАЧИ ДЕЯТЕЛЬНОСТИ</a:t>
            </a:r>
            <a:endParaRPr lang="ru-RU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4447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3" descr="F:\Дистант Игушева И.А\ТШ Зан 9а Азбука, Рус.яз\Азбука, РЯ_СТРАНИЦЫ\Рус.яз._Учеб_1 кл_с.97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8612" y="1843087"/>
            <a:ext cx="3720704" cy="38814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123909" name="Text Box 5"/>
          <p:cNvSpPr txBox="1">
            <a:spLocks noChangeArrowheads="1"/>
          </p:cNvSpPr>
          <p:nvPr/>
        </p:nvSpPr>
        <p:spPr bwMode="auto">
          <a:xfrm>
            <a:off x="3525442" y="5950305"/>
            <a:ext cx="4576763" cy="276914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lIns="68496" tIns="34248" rIns="68496" bIns="34248">
            <a:spAutoFit/>
          </a:bodyPr>
          <a:lstStyle/>
          <a:p>
            <a:pPr>
              <a:defRPr/>
            </a:pPr>
            <a:r>
              <a:rPr lang="ru-RU" sz="1350" dirty="0"/>
              <a:t>Русский язык, 1 </a:t>
            </a:r>
            <a:r>
              <a:rPr lang="ru-RU" sz="1350" dirty="0" err="1"/>
              <a:t>кл</a:t>
            </a:r>
            <a:r>
              <a:rPr lang="ru-RU" sz="1350" dirty="0"/>
              <a:t>., с.97, авт. В.П. </a:t>
            </a:r>
            <a:r>
              <a:rPr lang="ru-RU" sz="1350" dirty="0" err="1"/>
              <a:t>Канакина</a:t>
            </a:r>
            <a:r>
              <a:rPr lang="ru-RU" sz="1350" dirty="0"/>
              <a:t> и др.</a:t>
            </a:r>
          </a:p>
        </p:txBody>
      </p:sp>
      <p:sp>
        <p:nvSpPr>
          <p:cNvPr id="124931" name="TextBox 3"/>
          <p:cNvSpPr txBox="1">
            <a:spLocks noChangeArrowheads="1"/>
          </p:cNvSpPr>
          <p:nvPr/>
        </p:nvSpPr>
        <p:spPr bwMode="auto">
          <a:xfrm>
            <a:off x="1196481" y="1133745"/>
            <a:ext cx="68046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algn="ctr">
              <a:spcBef>
                <a:spcPct val="0"/>
              </a:spcBef>
              <a:defRPr sz="2000" b="1" spc="-40">
                <a:solidFill>
                  <a:srgbClr val="294790"/>
                </a:solidFill>
                <a:latin typeface="Calibri" pitchFamily="34" charset="0"/>
              </a:defRPr>
            </a:lvl1pPr>
          </a:lstStyle>
          <a:p>
            <a:r>
              <a:rPr lang="ru-RU" altLang="ru-RU" sz="1800" dirty="0"/>
              <a:t>ЧЕРЕЗ НАБЛЮДЕНИЕ, СРАВНЕНИЕ К ТЕОРЕТИЧЕСКИМ ОБОБЩЕНИЯМ</a:t>
            </a:r>
          </a:p>
        </p:txBody>
      </p:sp>
      <p:sp>
        <p:nvSpPr>
          <p:cNvPr id="124932" name="Прямоугольник 5"/>
          <p:cNvSpPr>
            <a:spLocks noChangeArrowheads="1"/>
          </p:cNvSpPr>
          <p:nvPr/>
        </p:nvSpPr>
        <p:spPr bwMode="auto">
          <a:xfrm>
            <a:off x="2238730" y="863715"/>
            <a:ext cx="43192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b="1" spc="-40" dirty="0">
                <a:solidFill>
                  <a:srgbClr val="294790"/>
                </a:solidFill>
                <a:latin typeface="Calibri" pitchFamily="34" charset="0"/>
              </a:rPr>
              <a:t>РАЗВИТИЕ ИССЛЕДОВАТЕЛЬСКИХ УМЕНИЙ:</a:t>
            </a:r>
          </a:p>
        </p:txBody>
      </p:sp>
      <p:sp>
        <p:nvSpPr>
          <p:cNvPr id="10" name="Скругленная прямоугольная выноска 9"/>
          <p:cNvSpPr/>
          <p:nvPr/>
        </p:nvSpPr>
        <p:spPr>
          <a:xfrm>
            <a:off x="1365648" y="2518174"/>
            <a:ext cx="2159794" cy="539353"/>
          </a:xfrm>
          <a:prstGeom prst="wedgeRoundRectCallout">
            <a:avLst>
              <a:gd name="adj1" fmla="val 96914"/>
              <a:gd name="adj2" fmla="val -26638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2" tIns="34206" rIns="68412" bIns="34206" anchor="ctr"/>
          <a:lstStyle/>
          <a:p>
            <a:pPr algn="ctr">
              <a:defRPr/>
            </a:pPr>
            <a:endParaRPr lang="ru-RU" sz="1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50" b="1" dirty="0">
              <a:solidFill>
                <a:schemeClr val="bg1">
                  <a:lumMod val="50000"/>
                </a:schemeClr>
              </a:solidFill>
              <a:latin typeface="Helvetica Neue Black Condensed"/>
            </a:endParaRPr>
          </a:p>
          <a:p>
            <a:pPr algn="ctr">
              <a:defRPr/>
            </a:pPr>
            <a:r>
              <a:rPr lang="ru-RU" sz="1350" b="1" dirty="0">
                <a:solidFill>
                  <a:schemeClr val="tx1"/>
                </a:solidFill>
                <a:latin typeface="Helvetica Neue Black Condensed"/>
              </a:rPr>
              <a:t>Произносим. Сравниваем. Находим сходство и различие</a:t>
            </a:r>
            <a:endParaRPr lang="ru-RU" sz="1350" dirty="0">
              <a:solidFill>
                <a:schemeClr val="tx1"/>
              </a:solidFill>
              <a:latin typeface="Helvetica Neue Black Condensed"/>
            </a:endParaRPr>
          </a:p>
          <a:p>
            <a:pPr algn="ctr">
              <a:defRPr/>
            </a:pPr>
            <a:endParaRPr lang="ru-RU" sz="105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endParaRPr lang="ru-RU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Скругленная прямоугольная выноска 10"/>
          <p:cNvSpPr/>
          <p:nvPr/>
        </p:nvSpPr>
        <p:spPr>
          <a:xfrm>
            <a:off x="1365648" y="1610917"/>
            <a:ext cx="2159794" cy="806053"/>
          </a:xfrm>
          <a:prstGeom prst="wedgeRoundRectCallout">
            <a:avLst>
              <a:gd name="adj1" fmla="val 104030"/>
              <a:gd name="adj2" fmla="val 25879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2" tIns="34206" rIns="68412" bIns="34206" anchor="ctr"/>
          <a:lstStyle/>
          <a:p>
            <a:pPr algn="ctr">
              <a:defRPr/>
            </a:pPr>
            <a:endParaRPr lang="ru-RU" sz="1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50" b="1" dirty="0">
              <a:solidFill>
                <a:schemeClr val="bg1">
                  <a:lumMod val="50000"/>
                </a:schemeClr>
              </a:solidFill>
              <a:latin typeface="Helvetica Neue Black Condensed"/>
            </a:endParaRPr>
          </a:p>
          <a:p>
            <a:pPr algn="ctr">
              <a:defRPr/>
            </a:pPr>
            <a:r>
              <a:rPr lang="ru-RU" sz="1350" b="1" dirty="0">
                <a:solidFill>
                  <a:schemeClr val="tx1"/>
                </a:solidFill>
                <a:latin typeface="Helvetica Neue Black Condensed"/>
              </a:rPr>
              <a:t>Наблюдаем. </a:t>
            </a:r>
          </a:p>
          <a:p>
            <a:pPr algn="ctr">
              <a:defRPr/>
            </a:pPr>
            <a:r>
              <a:rPr lang="ru-RU" sz="1350" b="1" dirty="0">
                <a:solidFill>
                  <a:schemeClr val="tx1"/>
                </a:solidFill>
                <a:latin typeface="Helvetica Neue Black Condensed"/>
              </a:rPr>
              <a:t>Визуальная поддержка для детей с трудностями</a:t>
            </a:r>
            <a:endParaRPr lang="ru-RU" sz="1350" dirty="0">
              <a:solidFill>
                <a:schemeClr val="tx1"/>
              </a:solidFill>
              <a:latin typeface="Helvetica Neue Black Condensed"/>
            </a:endParaRPr>
          </a:p>
          <a:p>
            <a:pPr algn="ctr">
              <a:defRPr/>
            </a:pPr>
            <a:endParaRPr lang="ru-RU" sz="105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endParaRPr lang="ru-RU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Скругленная прямоугольная выноска 11"/>
          <p:cNvSpPr/>
          <p:nvPr/>
        </p:nvSpPr>
        <p:spPr>
          <a:xfrm>
            <a:off x="1398985" y="3158729"/>
            <a:ext cx="2160984" cy="533400"/>
          </a:xfrm>
          <a:prstGeom prst="wedgeRoundRectCallout">
            <a:avLst>
              <a:gd name="adj1" fmla="val 85605"/>
              <a:gd name="adj2" fmla="val 11213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2" tIns="34206" rIns="68412" bIns="34206" anchor="ctr"/>
          <a:lstStyle/>
          <a:p>
            <a:pPr algn="ctr">
              <a:defRPr/>
            </a:pPr>
            <a:endParaRPr lang="ru-RU" sz="1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50" b="1" dirty="0">
              <a:solidFill>
                <a:schemeClr val="bg1">
                  <a:lumMod val="50000"/>
                </a:schemeClr>
              </a:solidFill>
              <a:latin typeface="Helvetica Neue Black Condensed"/>
            </a:endParaRPr>
          </a:p>
          <a:p>
            <a:pPr algn="ctr">
              <a:defRPr/>
            </a:pPr>
            <a:r>
              <a:rPr lang="ru-RU" sz="1350" b="1" dirty="0">
                <a:solidFill>
                  <a:schemeClr val="tx1"/>
                </a:solidFill>
                <a:latin typeface="Helvetica Neue Black Condensed"/>
              </a:rPr>
              <a:t>Находим противоречие</a:t>
            </a:r>
            <a:endParaRPr lang="ru-RU" sz="1350" dirty="0">
              <a:solidFill>
                <a:schemeClr val="tx1"/>
              </a:solidFill>
              <a:latin typeface="Helvetica Neue Black Condensed"/>
            </a:endParaRPr>
          </a:p>
          <a:p>
            <a:pPr algn="ctr">
              <a:defRPr/>
            </a:pPr>
            <a:endParaRPr lang="ru-RU" sz="105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endParaRPr lang="ru-RU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Скругленная прямоугольная выноска 12"/>
          <p:cNvSpPr/>
          <p:nvPr/>
        </p:nvSpPr>
        <p:spPr>
          <a:xfrm>
            <a:off x="1398985" y="3800475"/>
            <a:ext cx="2194322" cy="438150"/>
          </a:xfrm>
          <a:prstGeom prst="wedgeRoundRectCallout">
            <a:avLst>
              <a:gd name="adj1" fmla="val 85066"/>
              <a:gd name="adj2" fmla="val -35029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2" tIns="34206" rIns="68412" bIns="34206" anchor="ctr"/>
          <a:lstStyle/>
          <a:p>
            <a:pPr algn="ctr">
              <a:defRPr/>
            </a:pPr>
            <a:endParaRPr lang="ru-RU" sz="1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50" b="1" dirty="0">
              <a:solidFill>
                <a:schemeClr val="bg1">
                  <a:lumMod val="50000"/>
                </a:schemeClr>
              </a:solidFill>
              <a:latin typeface="Helvetica Neue Black Condensed"/>
            </a:endParaRPr>
          </a:p>
          <a:p>
            <a:pPr algn="ctr">
              <a:defRPr/>
            </a:pPr>
            <a:r>
              <a:rPr lang="ru-RU" sz="1350" b="1" dirty="0">
                <a:solidFill>
                  <a:schemeClr val="tx1"/>
                </a:solidFill>
                <a:latin typeface="Helvetica Neue Black Condensed"/>
              </a:rPr>
              <a:t>Определяем проблему</a:t>
            </a:r>
            <a:endParaRPr lang="ru-RU" sz="1350" dirty="0">
              <a:solidFill>
                <a:schemeClr val="tx1"/>
              </a:solidFill>
              <a:latin typeface="Helvetica Neue Black Condensed"/>
            </a:endParaRPr>
          </a:p>
          <a:p>
            <a:pPr algn="ctr">
              <a:defRPr/>
            </a:pPr>
            <a:endParaRPr lang="ru-RU" sz="105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endParaRPr lang="ru-RU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Скругленная прямоугольная выноска 13"/>
          <p:cNvSpPr/>
          <p:nvPr/>
        </p:nvSpPr>
        <p:spPr>
          <a:xfrm>
            <a:off x="1398985" y="4339829"/>
            <a:ext cx="2194322" cy="439340"/>
          </a:xfrm>
          <a:prstGeom prst="wedgeRoundRectCallout">
            <a:avLst>
              <a:gd name="adj1" fmla="val 89378"/>
              <a:gd name="adj2" fmla="val -88922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2" tIns="34206" rIns="68412" bIns="34206" anchor="ctr"/>
          <a:lstStyle/>
          <a:p>
            <a:pPr algn="ctr">
              <a:defRPr/>
            </a:pPr>
            <a:endParaRPr lang="ru-RU" sz="1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50" b="1" dirty="0">
              <a:solidFill>
                <a:schemeClr val="bg1">
                  <a:lumMod val="50000"/>
                </a:schemeClr>
              </a:solidFill>
              <a:latin typeface="Helvetica Neue Black Condensed"/>
            </a:endParaRPr>
          </a:p>
          <a:p>
            <a:pPr algn="ctr">
              <a:defRPr/>
            </a:pPr>
            <a:r>
              <a:rPr lang="ru-RU" sz="1350" b="1" dirty="0">
                <a:solidFill>
                  <a:schemeClr val="tx1"/>
                </a:solidFill>
                <a:latin typeface="Helvetica Neue Black Condensed"/>
              </a:rPr>
              <a:t>Решаем проблему. Формулируем вывод</a:t>
            </a:r>
            <a:endParaRPr lang="ru-RU" sz="1350" dirty="0">
              <a:solidFill>
                <a:schemeClr val="tx1"/>
              </a:solidFill>
              <a:latin typeface="Helvetica Neue Black Condensed"/>
            </a:endParaRPr>
          </a:p>
          <a:p>
            <a:pPr algn="ctr">
              <a:defRPr/>
            </a:pPr>
            <a:endParaRPr lang="ru-RU" sz="105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endParaRPr lang="ru-RU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Скругленная прямоугольная выноска 14"/>
          <p:cNvSpPr/>
          <p:nvPr/>
        </p:nvSpPr>
        <p:spPr>
          <a:xfrm>
            <a:off x="1398985" y="4880374"/>
            <a:ext cx="2194322" cy="563165"/>
          </a:xfrm>
          <a:prstGeom prst="wedgeRoundRectCallout">
            <a:avLst>
              <a:gd name="adj1" fmla="val 108779"/>
              <a:gd name="adj2" fmla="val -83532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2" tIns="34206" rIns="68412" bIns="34206" anchor="ctr"/>
          <a:lstStyle/>
          <a:p>
            <a:pPr algn="ctr">
              <a:defRPr/>
            </a:pPr>
            <a:endParaRPr lang="ru-RU" sz="1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50" b="1" dirty="0">
              <a:solidFill>
                <a:schemeClr val="bg1">
                  <a:lumMod val="50000"/>
                </a:schemeClr>
              </a:solidFill>
              <a:latin typeface="Helvetica Neue Black Condensed"/>
            </a:endParaRPr>
          </a:p>
          <a:p>
            <a:pPr algn="ctr">
              <a:defRPr/>
            </a:pPr>
            <a:r>
              <a:rPr lang="ru-RU" sz="1350" b="1" dirty="0">
                <a:solidFill>
                  <a:schemeClr val="tx1"/>
                </a:solidFill>
                <a:latin typeface="Helvetica Neue Black Condensed"/>
              </a:rPr>
              <a:t>Находим практическое подтверждение выводам</a:t>
            </a:r>
            <a:endParaRPr lang="ru-RU" sz="1350" dirty="0">
              <a:solidFill>
                <a:schemeClr val="tx1"/>
              </a:solidFill>
              <a:latin typeface="Helvetica Neue Black Condensed"/>
            </a:endParaRPr>
          </a:p>
          <a:p>
            <a:pPr algn="ctr">
              <a:defRPr/>
            </a:pPr>
            <a:endParaRPr lang="ru-RU" sz="105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endParaRPr lang="ru-RU" sz="15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-126735" y="-81390"/>
            <a:ext cx="945105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ctr" eaLnBrk="1" hangingPunct="1"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latin typeface="Calibri" panose="020F0502020204030204" pitchFamily="34" charset="0"/>
              </a:defRPr>
            </a:lvl9pPr>
          </a:lstStyle>
          <a:p>
            <a:r>
              <a:rPr lang="ru-RU" altLang="ru-RU" sz="2200" dirty="0" smtClean="0"/>
              <a:t>ОТКРЫВАЕТ НОВЫЕ ЗНАНИЯ.</a:t>
            </a:r>
          </a:p>
          <a:p>
            <a:r>
              <a:rPr lang="ru-RU" altLang="ru-RU" sz="2200" dirty="0" smtClean="0">
                <a:solidFill>
                  <a:schemeClr val="tx1"/>
                </a:solidFill>
              </a:rPr>
              <a:t>ОРИЕНТИРОВАННОСТЬ </a:t>
            </a:r>
            <a:r>
              <a:rPr lang="ru-RU" altLang="ru-RU" sz="2200" dirty="0">
                <a:solidFill>
                  <a:schemeClr val="tx1"/>
                </a:solidFill>
              </a:rPr>
              <a:t>ЗАДАНИЙ НА ВЕДУЩУЮ ДЕЯТЕЛЬНОСТЬ </a:t>
            </a:r>
          </a:p>
        </p:txBody>
      </p:sp>
    </p:spTree>
    <p:extLst>
      <p:ext uri="{BB962C8B-B14F-4D97-AF65-F5344CB8AC3E}">
        <p14:creationId xmlns:p14="http://schemas.microsoft.com/office/powerpoint/2010/main" val="118827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 descr="F:\Дистант Игушева И.А\ТШ Зан 9а Азбука, Рус.яз\Азбука, РЯ_СТРАНИЦЫ\Рус.яз._Учеб_4 кл_ч.2_с.108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0601" y="1977292"/>
            <a:ext cx="6934199" cy="222799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9" name="Скругленный прямоугольник 8"/>
          <p:cNvSpPr/>
          <p:nvPr/>
        </p:nvSpPr>
        <p:spPr>
          <a:xfrm>
            <a:off x="990601" y="2103914"/>
            <a:ext cx="6934199" cy="71548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96" tIns="34248" rIns="68496" bIns="34248"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106501" name="Прямоугольник 1"/>
          <p:cNvSpPr>
            <a:spLocks noChangeArrowheads="1"/>
          </p:cNvSpPr>
          <p:nvPr/>
        </p:nvSpPr>
        <p:spPr bwMode="auto">
          <a:xfrm>
            <a:off x="0" y="-36385"/>
            <a:ext cx="9144000" cy="807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496" tIns="34248" rIns="68496" bIns="34248">
            <a:spAutoFit/>
          </a:bodyPr>
          <a:lstStyle/>
          <a:p>
            <a:pPr algn="ctr"/>
            <a:r>
              <a:rPr lang="ru-RU" altLang="ru-RU" sz="2400" dirty="0">
                <a:solidFill>
                  <a:schemeClr val="bg1"/>
                </a:solidFill>
              </a:rPr>
              <a:t>ЯЗЫКОВОЙ ЭКСПЕРИМЕНТ КАК ОДИН ИЗ ПРИЕМОВ </a:t>
            </a:r>
            <a:r>
              <a:rPr lang="ru-RU" altLang="ru-RU" sz="2400" dirty="0"/>
              <a:t>РЕШЕНИЯ УЧЕБНЫХ ПРОБЛЕМ</a:t>
            </a: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3086835" y="5886106"/>
            <a:ext cx="5285184" cy="276914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lIns="68496" tIns="34248" rIns="68496" bIns="34248">
            <a:spAutoFit/>
          </a:bodyPr>
          <a:lstStyle/>
          <a:p>
            <a:pPr>
              <a:defRPr/>
            </a:pPr>
            <a:r>
              <a:rPr lang="ru-RU" sz="1350" dirty="0"/>
              <a:t>Русский язык, авт. В.П. </a:t>
            </a:r>
            <a:r>
              <a:rPr lang="ru-RU" sz="1350" dirty="0" err="1"/>
              <a:t>Канакина</a:t>
            </a:r>
            <a:r>
              <a:rPr lang="ru-RU" sz="1350" dirty="0"/>
              <a:t> и др., 4 </a:t>
            </a:r>
            <a:r>
              <a:rPr lang="ru-RU" sz="1350" dirty="0" err="1"/>
              <a:t>кл</a:t>
            </a:r>
            <a:r>
              <a:rPr lang="ru-RU" sz="1350" dirty="0"/>
              <a:t>., Ч.2, </a:t>
            </a:r>
            <a:r>
              <a:rPr lang="ru-RU" sz="1350" dirty="0" smtClean="0"/>
              <a:t>с.108</a:t>
            </a:r>
            <a:endParaRPr lang="ru-RU" sz="1350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990601" y="3475514"/>
            <a:ext cx="6934199" cy="71548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96" tIns="34248" rIns="68496" bIns="34248" anchor="ctr"/>
          <a:lstStyle/>
          <a:p>
            <a:pPr algn="ctr">
              <a:defRPr/>
            </a:pPr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41011581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5"/>
          <p:cNvSpPr>
            <a:spLocks noChangeArrowheads="1"/>
          </p:cNvSpPr>
          <p:nvPr/>
        </p:nvSpPr>
        <p:spPr bwMode="auto">
          <a:xfrm>
            <a:off x="137435" y="-36385"/>
            <a:ext cx="886598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912627" fontAlgn="auto">
              <a:spcBef>
                <a:spcPts val="0"/>
              </a:spcBef>
              <a:spcAft>
                <a:spcPts val="0"/>
              </a:spcAft>
            </a:pPr>
            <a:r>
              <a:rPr lang="ru-RU" sz="2200" dirty="0" smtClean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ЫСЕЛ – ДЕЙСТВИЕ - РЕЗУЛЬТАТ</a:t>
            </a:r>
            <a:endParaRPr lang="ru-RU" altLang="ru-RU" sz="22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 descr="https://rebenkoved.ru/wp-content/uploads/2016/12/0a000002-00c0-5e4b.jpe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3576" y="2864327"/>
            <a:ext cx="2618666" cy="1869818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/>
        </p:spPr>
      </p:pic>
      <p:pic>
        <p:nvPicPr>
          <p:cNvPr id="3076" name="Picture 4" descr="https://pbs.twimg.com/media/DTma6GNXUAAUuJv.jpg:large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046" y="4529511"/>
            <a:ext cx="2510067" cy="1779809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/>
        </p:spPr>
      </p:pic>
      <p:pic>
        <p:nvPicPr>
          <p:cNvPr id="3078" name="Picture 6" descr="http://museum-lesnoy.ru/wp-content/uploads/2012/10/%D1%88%D0%BA%D0%BE%D0%BB%D0%B0-74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57300" y="1043735"/>
            <a:ext cx="2721561" cy="2025225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/>
        </p:spPr>
      </p:pic>
      <p:cxnSp>
        <p:nvCxnSpPr>
          <p:cNvPr id="3" name="Прямая со стрелкой 2"/>
          <p:cNvCxnSpPr/>
          <p:nvPr/>
        </p:nvCxnSpPr>
        <p:spPr>
          <a:xfrm flipV="1">
            <a:off x="4031940" y="3338990"/>
            <a:ext cx="4176000" cy="2772000"/>
          </a:xfrm>
          <a:prstGeom prst="straightConnector1">
            <a:avLst/>
          </a:prstGeom>
          <a:ln w="4762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6187830" y="5130939"/>
            <a:ext cx="2060500" cy="6463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dirty="0" smtClean="0"/>
              <a:t>АВТОРСКАЯ </a:t>
            </a:r>
          </a:p>
          <a:p>
            <a:pPr algn="ctr"/>
            <a:r>
              <a:rPr lang="ru-RU" dirty="0" smtClean="0"/>
              <a:t>ДЕЯТЕЛЬНО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792538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38</TotalTime>
  <Words>1466</Words>
  <Application>Microsoft Office PowerPoint</Application>
  <PresentationFormat>Экран (4:3)</PresentationFormat>
  <Paragraphs>332</Paragraphs>
  <Slides>44</Slides>
  <Notes>44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4</vt:i4>
      </vt:variant>
    </vt:vector>
  </HeadingPairs>
  <TitlesOfParts>
    <vt:vector size="47" baseType="lpstr">
      <vt:lpstr>Тема Office</vt:lpstr>
      <vt:lpstr>Специальное оформление</vt:lpstr>
      <vt:lpstr>Слайд think-cell</vt:lpstr>
      <vt:lpstr>Проектирование универсальных учебных действий.  Проектные задачи как способ формирования  универсальных учебных действий  младших школьник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prosw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ма выступления</dc:title>
  <dc:creator>Пользователь Windows</dc:creator>
  <cp:lastModifiedBy>Анастасия Черепнева</cp:lastModifiedBy>
  <cp:revision>766</cp:revision>
  <cp:lastPrinted>2019-10-02T08:07:04Z</cp:lastPrinted>
  <dcterms:created xsi:type="dcterms:W3CDTF">2015-07-16T13:22:13Z</dcterms:created>
  <dcterms:modified xsi:type="dcterms:W3CDTF">2019-10-04T08:34:44Z</dcterms:modified>
</cp:coreProperties>
</file>